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3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4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5.xml" ContentType="application/vnd.openxmlformats-officedocument.presentationml.notesSlide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tags/tag61.xml" ContentType="application/vnd.openxmlformats-officedocument.presentationml.tags+xml"/>
  <Override PartName="/ppt/notesSlides/notesSlide7.xml" ContentType="application/vnd.openxmlformats-officedocument.presentationml.notesSlide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tags/tag64.xml" ContentType="application/vnd.openxmlformats-officedocument.presentationml.tags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4"/>
    <p:sldMasterId id="2147483689" r:id="rId5"/>
    <p:sldMasterId id="2147483711" r:id="rId6"/>
  </p:sldMasterIdLst>
  <p:notesMasterIdLst>
    <p:notesMasterId r:id="rId35"/>
  </p:notesMasterIdLst>
  <p:sldIdLst>
    <p:sldId id="2147482288" r:id="rId7"/>
    <p:sldId id="256" r:id="rId8"/>
    <p:sldId id="263" r:id="rId9"/>
    <p:sldId id="2147482350" r:id="rId10"/>
    <p:sldId id="2147482328" r:id="rId11"/>
    <p:sldId id="2147482341" r:id="rId12"/>
    <p:sldId id="2147482339" r:id="rId13"/>
    <p:sldId id="2147482367" r:id="rId14"/>
    <p:sldId id="2147482342" r:id="rId15"/>
    <p:sldId id="2147482352" r:id="rId16"/>
    <p:sldId id="2147482371" r:id="rId17"/>
    <p:sldId id="2147482372" r:id="rId18"/>
    <p:sldId id="2147482343" r:id="rId19"/>
    <p:sldId id="2147482365" r:id="rId20"/>
    <p:sldId id="2147482360" r:id="rId21"/>
    <p:sldId id="277" r:id="rId22"/>
    <p:sldId id="2147482304" r:id="rId23"/>
    <p:sldId id="2147482373" r:id="rId24"/>
    <p:sldId id="2147482380" r:id="rId25"/>
    <p:sldId id="2147482362" r:id="rId26"/>
    <p:sldId id="2147482381" r:id="rId27"/>
    <p:sldId id="2147482374" r:id="rId28"/>
    <p:sldId id="2147482375" r:id="rId29"/>
    <p:sldId id="2147482376" r:id="rId30"/>
    <p:sldId id="2147482377" r:id="rId31"/>
    <p:sldId id="2147482378" r:id="rId32"/>
    <p:sldId id="2147482379" r:id="rId33"/>
    <p:sldId id="2147482382" r:id="rId34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A33FF45-F649-410A-A674-1B87F4DB337C}">
          <p14:sldIdLst>
            <p14:sldId id="2147482288"/>
            <p14:sldId id="256"/>
          </p14:sldIdLst>
        </p14:section>
        <p14:section name="01. Gen Ed Overview" id="{BE3E6A6E-8B43-417C-BADC-45AC5FE52C02}">
          <p14:sldIdLst>
            <p14:sldId id="263"/>
            <p14:sldId id="2147482350"/>
            <p14:sldId id="2147482328"/>
          </p14:sldIdLst>
        </p14:section>
        <p14:section name="IOC GenEd" id="{842B6A02-65CC-4574-8A11-F013C5BD1D0A}">
          <p14:sldIdLst>
            <p14:sldId id="2147482341"/>
            <p14:sldId id="2147482339"/>
            <p14:sldId id="2147482367"/>
          </p14:sldIdLst>
        </p14:section>
        <p14:section name="FOC GenEd" id="{5F9A138F-A694-4DF0-B978-8975AE218FBE}">
          <p14:sldIdLst>
            <p14:sldId id="2147482342"/>
            <p14:sldId id="2147482352"/>
            <p14:sldId id="2147482371"/>
            <p14:sldId id="2147482372"/>
          </p14:sldIdLst>
        </p14:section>
        <p14:section name="Next Steps" id="{A70E3FD1-EEF5-486B-B171-8AE24FF96D7C}">
          <p14:sldIdLst>
            <p14:sldId id="2147482343"/>
            <p14:sldId id="2147482365"/>
            <p14:sldId id="2147482360"/>
            <p14:sldId id="277"/>
            <p14:sldId id="2147482304"/>
          </p14:sldIdLst>
        </p14:section>
        <p14:section name="Appendix" id="{6295B31E-A473-428B-8F4B-9038585A9DA1}">
          <p14:sldIdLst>
            <p14:sldId id="2147482373"/>
            <p14:sldId id="2147482380"/>
            <p14:sldId id="2147482362"/>
            <p14:sldId id="2147482381"/>
            <p14:sldId id="2147482374"/>
            <p14:sldId id="2147482375"/>
            <p14:sldId id="2147482376"/>
            <p14:sldId id="2147482377"/>
            <p14:sldId id="2147482378"/>
            <p14:sldId id="2147482379"/>
            <p14:sldId id="214748238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3E6"/>
    <a:srgbClr val="E7D6C4"/>
    <a:srgbClr val="F2F2F2"/>
    <a:srgbClr val="DDDDDD"/>
    <a:srgbClr val="D7D7D7"/>
    <a:srgbClr val="D4D4D4"/>
    <a:srgbClr val="E2DFDF"/>
    <a:srgbClr val="ECFFDD"/>
    <a:srgbClr val="FEFDCE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6A46BE-80CE-773A-DB59-4DB7283E268E}" v="469" dt="2025-12-08T14:04:52.218"/>
    <p1510:client id="{2271A474-45A6-4BA6-86D7-2A62F89E9D9E}" v="5797" dt="2025-12-08T16:46:22.985"/>
    <p1510:client id="{319ADE87-9ACD-4AED-9B87-B8D5EECFF81E}" v="4852" dt="2025-12-08T16:25:38.789"/>
    <p1510:client id="{80BA3F29-83A6-4236-9527-5C81DC55160D}" v="333" dt="2025-12-08T16:35:11.5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24"/>
    <p:restoredTop sz="94694"/>
  </p:normalViewPr>
  <p:slideViewPr>
    <p:cSldViewPr snapToGrid="0">
      <p:cViewPr varScale="1">
        <p:scale>
          <a:sx n="121" d="100"/>
          <a:sy n="121" d="100"/>
        </p:scale>
        <p:origin x="125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755A6B-98F5-42A9-9952-40C50BC817F9}" type="datetimeFigureOut">
              <a:rPr lang="en-US" smtClean="0"/>
              <a:t>12/1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CD01AD-0D6C-4EF2-8C64-DA12C611F7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066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E2E59D-6824-C858-65D7-36C27ABD2C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A83FF58-D6F0-D45E-4BD5-FA2D812815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0AE704-7235-5C82-B415-70EBE17217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CE5164-9D02-8366-945C-ABAB4D9043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D01AD-0D6C-4EF2-8C64-DA12C611F72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112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964B87-ECAE-615D-E89F-6A255D9605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4D5D32-8B3E-F798-299D-18F23817C0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B5B5DE-951A-0D16-6447-C4DBF0A89A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1FEF88-7B8F-0F26-95A1-49B2AC0378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D01AD-0D6C-4EF2-8C64-DA12C611F726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5068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D01AD-0D6C-4EF2-8C64-DA12C611F72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2451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E2E59D-6824-C858-65D7-36C27ABD2C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A83FF58-D6F0-D45E-4BD5-FA2D812815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0AE704-7235-5C82-B415-70EBE17217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CE5164-9D02-8366-945C-ABAB4D9043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D01AD-0D6C-4EF2-8C64-DA12C611F72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112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D01AD-0D6C-4EF2-8C64-DA12C611F72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8002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F1A9A5-3C1A-63BE-9331-187852BDC5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183BB3-035B-DB2A-FD7F-A1D8890DB5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E72318-D89E-E32F-6E7A-08C21D7D2C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BD1A9E-B1F4-DA49-0AE8-58967EB217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D01AD-0D6C-4EF2-8C64-DA12C611F726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692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D43B92-0C2E-579A-F42B-6C71059C73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C865FE-63C1-EE2C-AFA5-2E4F4CD529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1431EA-3BD8-5CA7-6E9C-F65A3D7F7E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918C7A-2AF3-7BE5-9C8D-049924B3F6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D01AD-0D6C-4EF2-8C64-DA12C611F726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4915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E0FE87-3691-2F95-10E4-F18E667C69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6B95DB-1E87-EF2D-6BF9-C489775381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E43D91-6CEA-DA0F-5287-28CED7AE71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B272B4-44B7-7F9D-3D17-0F58A7ACA5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D01AD-0D6C-4EF2-8C64-DA12C611F72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5692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E5CD04-6BF2-062C-E7F4-22DBDAB71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BE6C9F-F49E-1588-DB61-9EB6778C2D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82E756-2CF6-CABA-473F-394B42A1BA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B32CFB-A321-5B95-A125-499F3FFDCB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D01AD-0D6C-4EF2-8C64-DA12C611F72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5566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EB664F-2CD1-5F6E-C4D3-AA62B1BF50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FDB904-FF0F-4EF9-01FB-970648DBD6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6BDC6-966C-C7B0-D823-4E0B883262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830E0C-FCAB-E8AA-E9D6-140BAF03B5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D01AD-0D6C-4EF2-8C64-DA12C611F726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961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4.xml"/><Relationship Id="rId7" Type="http://schemas.openxmlformats.org/officeDocument/2006/relationships/image" Target="../media/image3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D46648A-A899-4021-936A-3944B2D2C3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41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0" progId="TCLayout.ActiveDocument.1">
                  <p:embed/>
                </p:oleObj>
              </mc:Choice>
              <mc:Fallback>
                <p:oleObj name="think-cell Slide" r:id="rId6" imgW="473" imgH="4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D46648A-A899-4021-936A-3944B2D2C3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142F3EF-C055-4B8B-A675-BD44CF51FC4A}"/>
              </a:ext>
            </a:extLst>
          </p:cNvPr>
          <p:cNvSpPr/>
          <p:nvPr userDrawn="1"/>
        </p:nvSpPr>
        <p:spPr>
          <a:xfrm>
            <a:off x="0" y="3176"/>
            <a:ext cx="12191999" cy="6854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FAD6247-8AB8-4745-B5E0-8E16BD575A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GB" sz="3801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5215EC0-3059-4576-8AAB-0DB22878BA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2"/>
            <a:ext cx="5334000" cy="1140617"/>
          </a:xfrm>
        </p:spPr>
        <p:txBody>
          <a:bodyPr vert="horz" lIns="0" rIns="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1">
                <a:solidFill>
                  <a:schemeClr val="tx2"/>
                </a:solidFill>
              </a:defRPr>
            </a:lvl1pPr>
          </a:lstStyle>
          <a:p>
            <a:r>
              <a:rPr lang="en-GB"/>
              <a:t>What are you here </a:t>
            </a:r>
            <a:br>
              <a:rPr lang="en-GB"/>
            </a:br>
            <a:r>
              <a:rPr lang="en-GB"/>
              <a:t>to say? Set the tone.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6EB88D1-7DCF-4D2B-9BDA-B486D870D4B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2665414"/>
            <a:ext cx="5334000" cy="1527175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>
                <a:solidFill>
                  <a:schemeClr val="bg2"/>
                </a:solidFill>
              </a:defRPr>
            </a:lvl1pPr>
            <a:lvl2pPr marL="0" marR="0" indent="9525" algn="l" defTabSz="9144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1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1"/>
            </a:lvl4pPr>
            <a:lvl5pPr marL="0" indent="-1819321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1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pPr lvl="0"/>
            <a:r>
              <a:rPr lang="en-GB"/>
              <a:t>Add supporting detai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8087EB-4651-49DE-8775-EE5EC2760FBA}"/>
              </a:ext>
            </a:extLst>
          </p:cNvPr>
          <p:cNvSpPr txBox="1"/>
          <p:nvPr userDrawn="1"/>
        </p:nvSpPr>
        <p:spPr>
          <a:xfrm>
            <a:off x="1363700" y="6282971"/>
            <a:ext cx="2700300" cy="19402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401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2C1DAE9-E530-4063-AF2B-969F963962FA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81001" y="4760371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>
                <a:solidFill>
                  <a:schemeClr val="accent4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2BD6C6A-37C1-4785-B5E0-B6AF2F7751D4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81001" y="4545013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97D2F0-453B-42AF-B934-A9E083C89226}"/>
              </a:ext>
            </a:extLst>
          </p:cNvPr>
          <p:cNvSpPr/>
          <p:nvPr userDrawn="1"/>
        </p:nvSpPr>
        <p:spPr>
          <a:xfrm>
            <a:off x="0" y="5877272"/>
            <a:ext cx="1091444" cy="9807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D086DF5-95A5-4018-AFDD-2D4DE9BF253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00056" y="1383360"/>
            <a:ext cx="4715790" cy="409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9648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_Standard_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821F2A-CECE-4222-9218-8B9B58EAA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559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821F2A-CECE-4222-9218-8B9B58EAA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3">
            <a:extLst>
              <a:ext uri="{FF2B5EF4-FFF2-40B4-BE49-F238E27FC236}">
                <a16:creationId xmlns:a16="http://schemas.microsoft.com/office/drawing/2014/main" id="{8117A900-B032-4BED-9115-F1FFCFCEC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709" y="389713"/>
            <a:ext cx="2277291" cy="2277287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DD2205-27B3-420E-A514-F9946F0E63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9709" y="3818709"/>
            <a:ext cx="2277291" cy="740664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8AC443E-CF7B-4EF7-B905-08C17706F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9709" y="4576791"/>
            <a:ext cx="2277291" cy="912345"/>
          </a:xfrm>
        </p:spPr>
        <p:txBody>
          <a:bodyPr anchor="b"/>
          <a:lstStyle>
            <a:lvl1pPr>
              <a:defRPr sz="800"/>
            </a:lvl1pPr>
          </a:lstStyle>
          <a:p>
            <a:pPr lvl="0"/>
            <a:r>
              <a:rPr lang="en-US"/>
              <a:t>Source: TETP</a:t>
            </a:r>
          </a:p>
        </p:txBody>
      </p:sp>
    </p:spTree>
    <p:extLst>
      <p:ext uri="{BB962C8B-B14F-4D97-AF65-F5344CB8AC3E}">
        <p14:creationId xmlns:p14="http://schemas.microsoft.com/office/powerpoint/2010/main" val="1739877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_Horizontal_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6EB0273-2213-41E9-9608-9923C098D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5687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6EB0273-2213-41E9-9608-9923C098D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CB0DB22E-3512-4E7D-BFF2-2B6D8C2E75DA}"/>
              </a:ext>
            </a:extLst>
          </p:cNvPr>
          <p:cNvSpPr/>
          <p:nvPr userDrawn="1"/>
        </p:nvSpPr>
        <p:spPr>
          <a:xfrm>
            <a:off x="381000" y="5085184"/>
            <a:ext cx="3626768" cy="1772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8ABDD21-FDB5-4BC7-A352-997226C5AD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709" y="389713"/>
            <a:ext cx="8754291" cy="553998"/>
          </a:xfrm>
        </p:spPr>
        <p:txBody>
          <a:bodyPr vert="horz" wrap="square" lIns="0" tIns="0" rIns="0" bIns="0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F458D9-158C-4B17-A32C-A238A1EBE3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709" y="1143001"/>
            <a:ext cx="11421050" cy="5325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B08E56-B33F-4C9A-A715-9D9C1B3665E0}"/>
              </a:ext>
            </a:extLst>
          </p:cNvPr>
          <p:cNvSpPr txBox="1"/>
          <p:nvPr userDrawn="1"/>
        </p:nvSpPr>
        <p:spPr>
          <a:xfrm>
            <a:off x="10524492" y="6581406"/>
            <a:ext cx="128650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B12F34E5-DC14-4D39-8A85-EBF61158EF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9709" y="6496471"/>
            <a:ext cx="5321345" cy="237284"/>
          </a:xfrm>
        </p:spPr>
        <p:txBody>
          <a:bodyPr anchor="b"/>
          <a:lstStyle>
            <a:lvl1pPr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ource: TETP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FD7CEF3-9B3E-3C39-75F5-F1588F4978F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25000" y="391355"/>
            <a:ext cx="2286000" cy="54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336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_Cover_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D46648A-A899-4021-936A-3944B2D2C3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4295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0" progId="TCLayout.ActiveDocument.1">
                  <p:embed/>
                </p:oleObj>
              </mc:Choice>
              <mc:Fallback>
                <p:oleObj name="think-cell Slide" r:id="rId6" imgW="473" imgH="4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D46648A-A899-4021-936A-3944B2D2C3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FAD6247-8AB8-4745-B5E0-8E16BD575A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GB" sz="3801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5215EC0-3059-4576-8AAB-0DB22878BA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9710" y="389711"/>
            <a:ext cx="5325290" cy="1134289"/>
          </a:xfrm>
        </p:spPr>
        <p:txBody>
          <a:bodyPr vert="horz" lIns="0" rIns="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1">
                <a:solidFill>
                  <a:schemeClr val="tx1"/>
                </a:solidFill>
              </a:defRPr>
            </a:lvl1pPr>
          </a:lstStyle>
          <a:p>
            <a:r>
              <a:rPr lang="en-GB"/>
              <a:t>What are you here </a:t>
            </a:r>
            <a:br>
              <a:rPr lang="en-GB"/>
            </a:br>
            <a:r>
              <a:rPr lang="en-GB"/>
              <a:t>to say? Set the tone.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6EB88D1-7DCF-4D2B-9BDA-B486D870D4B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9710" y="2674123"/>
            <a:ext cx="5325290" cy="1516877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1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1"/>
            </a:lvl4pPr>
            <a:lvl5pPr marL="0" indent="-1819321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1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pPr lvl="0"/>
            <a:r>
              <a:rPr lang="en-GB"/>
              <a:t>Add supporting detai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42F3EF-C055-4B8B-A675-BD44CF51FC4A}"/>
              </a:ext>
            </a:extLst>
          </p:cNvPr>
          <p:cNvSpPr/>
          <p:nvPr userDrawn="1"/>
        </p:nvSpPr>
        <p:spPr>
          <a:xfrm>
            <a:off x="1" y="4953000"/>
            <a:ext cx="3179676" cy="1905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8087EB-4651-49DE-8775-EE5EC2760FBA}"/>
              </a:ext>
            </a:extLst>
          </p:cNvPr>
          <p:cNvSpPr txBox="1"/>
          <p:nvPr userDrawn="1"/>
        </p:nvSpPr>
        <p:spPr>
          <a:xfrm>
            <a:off x="1363700" y="6282971"/>
            <a:ext cx="2700300" cy="19402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401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2C1DAE9-E530-4063-AF2B-969F963962FA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89710" y="4796860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2BD6C6A-37C1-4785-B5E0-B6AF2F7751D4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89710" y="4581128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97D2F0-453B-42AF-B934-A9E083C89226}"/>
              </a:ext>
            </a:extLst>
          </p:cNvPr>
          <p:cNvSpPr/>
          <p:nvPr userDrawn="1"/>
        </p:nvSpPr>
        <p:spPr>
          <a:xfrm>
            <a:off x="0" y="5877272"/>
            <a:ext cx="1091444" cy="9807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9" name="Picture 19">
            <a:extLst>
              <a:ext uri="{FF2B5EF4-FFF2-40B4-BE49-F238E27FC236}">
                <a16:creationId xmlns:a16="http://schemas.microsoft.com/office/drawing/2014/main" id="{F27A7A63-3AC1-6A69-F572-E0122AF66B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3275" y="2098039"/>
            <a:ext cx="4352925" cy="2661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7364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_Standard_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821F2A-CECE-4222-9218-8B9B58EAA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559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821F2A-CECE-4222-9218-8B9B58EAA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3">
            <a:extLst>
              <a:ext uri="{FF2B5EF4-FFF2-40B4-BE49-F238E27FC236}">
                <a16:creationId xmlns:a16="http://schemas.microsoft.com/office/drawing/2014/main" id="{8117A900-B032-4BED-9115-F1FFCFCEC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709" y="389713"/>
            <a:ext cx="2277291" cy="2277287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DD2205-27B3-420E-A514-F9946F0E63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9709" y="3818709"/>
            <a:ext cx="2277291" cy="740664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8AC443E-CF7B-4EF7-B905-08C17706F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9709" y="4576791"/>
            <a:ext cx="2277291" cy="912345"/>
          </a:xfrm>
        </p:spPr>
        <p:txBody>
          <a:bodyPr anchor="b"/>
          <a:lstStyle>
            <a:lvl1pPr>
              <a:defRPr sz="800"/>
            </a:lvl1pPr>
          </a:lstStyle>
          <a:p>
            <a:pPr lvl="0"/>
            <a:r>
              <a:rPr lang="en-US"/>
              <a:t>Source: </a:t>
            </a:r>
            <a:r>
              <a:rPr lang="en-US" err="1"/>
              <a:t>Takamul</a:t>
            </a:r>
            <a:r>
              <a:rPr lang="en-US"/>
              <a:t> Progra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D4F606-2894-7AE1-54FE-2282242533D7}"/>
              </a:ext>
            </a:extLst>
          </p:cNvPr>
          <p:cNvSpPr/>
          <p:nvPr userDrawn="1"/>
        </p:nvSpPr>
        <p:spPr>
          <a:xfrm>
            <a:off x="389709" y="6096000"/>
            <a:ext cx="2582091" cy="604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50727D-155B-1448-EBCA-FD04B13686C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66628" y="6100425"/>
            <a:ext cx="923452" cy="564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7386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_Horizontal_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6EB0273-2213-41E9-9608-9923C098D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5687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6EB0273-2213-41E9-9608-9923C098D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CB0DB22E-3512-4E7D-BFF2-2B6D8C2E75DA}"/>
              </a:ext>
            </a:extLst>
          </p:cNvPr>
          <p:cNvSpPr/>
          <p:nvPr userDrawn="1"/>
        </p:nvSpPr>
        <p:spPr>
          <a:xfrm>
            <a:off x="381000" y="5085184"/>
            <a:ext cx="3626768" cy="1772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8ABDD21-FDB5-4BC7-A352-997226C5AD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709" y="389713"/>
            <a:ext cx="8754291" cy="553998"/>
          </a:xfrm>
        </p:spPr>
        <p:txBody>
          <a:bodyPr vert="horz" wrap="square" lIns="0" tIns="0" rIns="0" bIns="0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F458D9-158C-4B17-A32C-A238A1EBE3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709" y="1143001"/>
            <a:ext cx="11421050" cy="5325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B08E56-B33F-4C9A-A715-9D9C1B3665E0}"/>
              </a:ext>
            </a:extLst>
          </p:cNvPr>
          <p:cNvSpPr txBox="1"/>
          <p:nvPr userDrawn="1"/>
        </p:nvSpPr>
        <p:spPr>
          <a:xfrm>
            <a:off x="10524492" y="6581406"/>
            <a:ext cx="128650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B12F34E5-DC14-4D39-8A85-EBF61158EF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9709" y="6496471"/>
            <a:ext cx="5321345" cy="237284"/>
          </a:xfrm>
        </p:spPr>
        <p:txBody>
          <a:bodyPr anchor="b"/>
          <a:lstStyle>
            <a:lvl1pPr>
              <a:defRPr sz="800"/>
            </a:lvl1pPr>
          </a:lstStyle>
          <a:p>
            <a:pPr lvl="0"/>
            <a:r>
              <a:rPr lang="en-US"/>
              <a:t>Source: </a:t>
            </a:r>
            <a:r>
              <a:rPr lang="en-US" err="1"/>
              <a:t>Takamul</a:t>
            </a:r>
            <a:r>
              <a:rPr lang="en-US"/>
              <a:t> Progra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0A3BCB3-1583-48D8-E492-F33074E2B18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772775" y="342899"/>
            <a:ext cx="1029516" cy="62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668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_End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52714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ACE1FC-CF60-490B-908F-384F3BB015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GB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0" y="25797"/>
            <a:ext cx="12192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5DD4C26-2D77-4E3E-A00F-E13EDEA8A973}"/>
              </a:ext>
            </a:extLst>
          </p:cNvPr>
          <p:cNvSpPr txBox="1"/>
          <p:nvPr userDrawn="1"/>
        </p:nvSpPr>
        <p:spPr>
          <a:xfrm>
            <a:off x="4727848" y="6273318"/>
            <a:ext cx="2700300" cy="19402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401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BE3DD5-8CBA-4D97-BB32-712344450CB2}"/>
              </a:ext>
            </a:extLst>
          </p:cNvPr>
          <p:cNvSpPr/>
          <p:nvPr userDrawn="1"/>
        </p:nvSpPr>
        <p:spPr>
          <a:xfrm>
            <a:off x="0" y="5877272"/>
            <a:ext cx="1091444" cy="9807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5" name="Picture 17">
            <a:extLst>
              <a:ext uri="{FF2B5EF4-FFF2-40B4-BE49-F238E27FC236}">
                <a16:creationId xmlns:a16="http://schemas.microsoft.com/office/drawing/2014/main" id="{A9006979-40F9-29FF-ED8F-944DAE1F84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7038" y="2292350"/>
            <a:ext cx="3717925" cy="227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1672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731361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821F2A-CECE-4222-9218-8B9B58EAA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423293"/>
              </p:ext>
            </p:extLst>
          </p:nvPr>
        </p:nvGraphicFramePr>
        <p:xfrm>
          <a:off x="159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821F2A-CECE-4222-9218-8B9B58EAA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3">
            <a:extLst>
              <a:ext uri="{FF2B5EF4-FFF2-40B4-BE49-F238E27FC236}">
                <a16:creationId xmlns:a16="http://schemas.microsoft.com/office/drawing/2014/main" id="{8117A900-B032-4BED-9115-F1FFCFCEC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11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DD2205-27B3-420E-A514-F9946F0E63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1" y="3810000"/>
            <a:ext cx="2286000" cy="740664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8AC443E-CF7B-4EF7-B905-08C17706F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6" y="4550671"/>
            <a:ext cx="2285999" cy="912345"/>
          </a:xfrm>
        </p:spPr>
        <p:txBody>
          <a:bodyPr anchor="b"/>
          <a:lstStyle>
            <a:lvl1pPr>
              <a:defRPr sz="800"/>
            </a:lvl1pPr>
          </a:lstStyle>
          <a:p>
            <a:pPr lvl="0"/>
            <a:r>
              <a:rPr lang="en-US"/>
              <a:t>Source: </a:t>
            </a:r>
            <a:r>
              <a:rPr lang="en-US" err="1"/>
              <a:t>Takamul</a:t>
            </a:r>
            <a:r>
              <a:rPr lang="en-US"/>
              <a:t> Program</a:t>
            </a:r>
          </a:p>
        </p:txBody>
      </p:sp>
    </p:spTree>
    <p:extLst>
      <p:ext uri="{BB962C8B-B14F-4D97-AF65-F5344CB8AC3E}">
        <p14:creationId xmlns:p14="http://schemas.microsoft.com/office/powerpoint/2010/main" val="1112129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D46648A-A899-4021-936A-3944B2D2C3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41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0" progId="TCLayout.ActiveDocument.1">
                  <p:embed/>
                </p:oleObj>
              </mc:Choice>
              <mc:Fallback>
                <p:oleObj name="think-cell Slide" r:id="rId6" imgW="473" imgH="4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D46648A-A899-4021-936A-3944B2D2C3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142F3EF-C055-4B8B-A675-BD44CF51FC4A}"/>
              </a:ext>
            </a:extLst>
          </p:cNvPr>
          <p:cNvSpPr/>
          <p:nvPr userDrawn="1"/>
        </p:nvSpPr>
        <p:spPr>
          <a:xfrm>
            <a:off x="0" y="3176"/>
            <a:ext cx="12191999" cy="6854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FAD6247-8AB8-4745-B5E0-8E16BD575A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GB" sz="3801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5215EC0-3059-4576-8AAB-0DB22878BA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2"/>
            <a:ext cx="5334000" cy="1140617"/>
          </a:xfrm>
        </p:spPr>
        <p:txBody>
          <a:bodyPr vert="horz" lIns="0" rIns="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1">
                <a:solidFill>
                  <a:schemeClr val="tx2"/>
                </a:solidFill>
              </a:defRPr>
            </a:lvl1pPr>
          </a:lstStyle>
          <a:p>
            <a:r>
              <a:rPr lang="en-GB"/>
              <a:t>What are you here </a:t>
            </a:r>
            <a:br>
              <a:rPr lang="en-GB"/>
            </a:br>
            <a:r>
              <a:rPr lang="en-GB"/>
              <a:t>to say? Set the tone.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6EB88D1-7DCF-4D2B-9BDA-B486D870D4B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2665414"/>
            <a:ext cx="5334000" cy="1527175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>
                <a:solidFill>
                  <a:schemeClr val="bg2"/>
                </a:solidFill>
              </a:defRPr>
            </a:lvl1pPr>
            <a:lvl2pPr marL="0" marR="0" indent="9525" algn="l" defTabSz="91442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1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1"/>
            </a:lvl4pPr>
            <a:lvl5pPr marL="0" indent="-1819321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1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pPr lvl="0"/>
            <a:r>
              <a:rPr lang="en-GB"/>
              <a:t>Add supporting detai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8087EB-4651-49DE-8775-EE5EC2760FBA}"/>
              </a:ext>
            </a:extLst>
          </p:cNvPr>
          <p:cNvSpPr txBox="1"/>
          <p:nvPr userDrawn="1"/>
        </p:nvSpPr>
        <p:spPr>
          <a:xfrm>
            <a:off x="1363700" y="6282971"/>
            <a:ext cx="2700300" cy="19402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401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2C1DAE9-E530-4063-AF2B-969F963962FA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81001" y="4760371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>
                <a:solidFill>
                  <a:schemeClr val="accent4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2BD6C6A-37C1-4785-B5E0-B6AF2F7751D4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81001" y="4545013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97D2F0-453B-42AF-B934-A9E083C89226}"/>
              </a:ext>
            </a:extLst>
          </p:cNvPr>
          <p:cNvSpPr/>
          <p:nvPr userDrawn="1"/>
        </p:nvSpPr>
        <p:spPr>
          <a:xfrm>
            <a:off x="0" y="5877272"/>
            <a:ext cx="1091444" cy="9807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D086DF5-95A5-4018-AFDD-2D4DE9BF253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00056" y="1383360"/>
            <a:ext cx="4715790" cy="409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427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861599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AA6B304-33F4-893B-1878-3C1273F7D62B}"/>
              </a:ext>
            </a:extLst>
          </p:cNvPr>
          <p:cNvSpPr/>
          <p:nvPr userDrawn="1"/>
        </p:nvSpPr>
        <p:spPr>
          <a:xfrm>
            <a:off x="0" y="3176"/>
            <a:ext cx="12191999" cy="6854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ACE1FC-CF60-490B-908F-384F3BB015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GB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5DD4C26-2D77-4E3E-A00F-E13EDEA8A973}"/>
              </a:ext>
            </a:extLst>
          </p:cNvPr>
          <p:cNvSpPr txBox="1"/>
          <p:nvPr userDrawn="1"/>
        </p:nvSpPr>
        <p:spPr>
          <a:xfrm>
            <a:off x="4727848" y="6273318"/>
            <a:ext cx="2700300" cy="19402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401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58E7A4-6B70-4B96-BDE2-8482924DC0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63752" y="1492369"/>
            <a:ext cx="4464496" cy="387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054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861599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AA6B304-33F4-893B-1878-3C1273F7D62B}"/>
              </a:ext>
            </a:extLst>
          </p:cNvPr>
          <p:cNvSpPr/>
          <p:nvPr userDrawn="1"/>
        </p:nvSpPr>
        <p:spPr>
          <a:xfrm>
            <a:off x="0" y="3176"/>
            <a:ext cx="12191999" cy="6854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ACE1FC-CF60-490B-908F-384F3BB015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GB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5DD4C26-2D77-4E3E-A00F-E13EDEA8A973}"/>
              </a:ext>
            </a:extLst>
          </p:cNvPr>
          <p:cNvSpPr txBox="1"/>
          <p:nvPr userDrawn="1"/>
        </p:nvSpPr>
        <p:spPr>
          <a:xfrm>
            <a:off x="4727848" y="6273318"/>
            <a:ext cx="2700300" cy="19402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401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58E7A4-6B70-4B96-BDE2-8482924DC0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63752" y="1492369"/>
            <a:ext cx="4464496" cy="387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474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821F2A-CECE-4222-9218-8B9B58EAA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68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821F2A-CECE-4222-9218-8B9B58EAA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11171A1-783E-47BF-ADBA-51248DF70A96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2">
                    <a:lumMod val="75000"/>
                  </a:schemeClr>
                </a:solidFill>
              </a:rPr>
              <a:pPr algn="r"/>
              <a:t>‹#›</a:t>
            </a:fld>
            <a:endParaRPr lang="en-US" sz="1200" b="1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8117A900-B032-4BED-9115-F1FFCFCEC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4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DD2205-27B3-420E-A514-F9946F0E63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3810000"/>
            <a:ext cx="2286000" cy="74066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8AC443E-CF7B-4EF7-B905-08C17706F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0" y="4550664"/>
            <a:ext cx="2285999" cy="912345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marL="0" lv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00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ource: TETP</a:t>
            </a:r>
          </a:p>
        </p:txBody>
      </p:sp>
    </p:spTree>
    <p:extLst>
      <p:ext uri="{BB962C8B-B14F-4D97-AF65-F5344CB8AC3E}">
        <p14:creationId xmlns:p14="http://schemas.microsoft.com/office/powerpoint/2010/main" val="3427808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821F2A-CECE-4222-9218-8B9B58EAA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87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821F2A-CECE-4222-9218-8B9B58EAA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1872A842-92C6-13F5-CC0D-5DA773238757}"/>
              </a:ext>
            </a:extLst>
          </p:cNvPr>
          <p:cNvSpPr/>
          <p:nvPr userDrawn="1"/>
        </p:nvSpPr>
        <p:spPr>
          <a:xfrm>
            <a:off x="0" y="1524000"/>
            <a:ext cx="12191999" cy="533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5FCC0A-FB89-C294-231F-1EF976F2756B}"/>
              </a:ext>
            </a:extLst>
          </p:cNvPr>
          <p:cNvSpPr/>
          <p:nvPr userDrawn="1"/>
        </p:nvSpPr>
        <p:spPr>
          <a:xfrm>
            <a:off x="0" y="3176"/>
            <a:ext cx="12191999" cy="1520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1171A1-783E-47BF-ADBA-51248DF70A96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2">
                    <a:lumMod val="75000"/>
                  </a:schemeClr>
                </a:solidFill>
              </a:rPr>
              <a:pPr algn="r"/>
              <a:t>‹#›</a:t>
            </a:fld>
            <a:endParaRPr lang="en-US" sz="1200" b="1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8117A900-B032-4BED-9115-F1FFCFCEC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5"/>
            <a:ext cx="8001000" cy="56371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DD2205-27B3-420E-A514-F9946F0E63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1909064"/>
            <a:ext cx="3429000" cy="74066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E8FC4A-EB8F-1C10-2251-44481543522C}"/>
              </a:ext>
            </a:extLst>
          </p:cNvPr>
          <p:cNvSpPr/>
          <p:nvPr userDrawn="1"/>
        </p:nvSpPr>
        <p:spPr>
          <a:xfrm>
            <a:off x="384175" y="6096000"/>
            <a:ext cx="1901825" cy="381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marL="0" lv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00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ource: ZMU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AB0097-D77E-D8B0-97F7-F9A33C50459B}"/>
              </a:ext>
            </a:extLst>
          </p:cNvPr>
          <p:cNvSpPr txBox="1"/>
          <p:nvPr userDrawn="1"/>
        </p:nvSpPr>
        <p:spPr>
          <a:xfrm>
            <a:off x="9120336" y="6408999"/>
            <a:ext cx="270030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22C8E9D-59A7-99C9-C17E-893CEBD6BA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25000" y="391355"/>
            <a:ext cx="2286000" cy="54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340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177A8C-B67C-4D2A-A26D-8697D70527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337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177A8C-B67C-4D2A-A26D-8697D70527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09CDDE7-030D-4A48-89AA-8A4AC417069A}"/>
              </a:ext>
            </a:extLst>
          </p:cNvPr>
          <p:cNvSpPr/>
          <p:nvPr userDrawn="1"/>
        </p:nvSpPr>
        <p:spPr>
          <a:xfrm>
            <a:off x="3176" y="3176"/>
            <a:ext cx="12188824" cy="6854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DDB561-83A4-4B10-BB6E-E4337C09874F}"/>
              </a:ext>
            </a:extLst>
          </p:cNvPr>
          <p:cNvSpPr txBox="1"/>
          <p:nvPr userDrawn="1"/>
        </p:nvSpPr>
        <p:spPr>
          <a:xfrm>
            <a:off x="9120336" y="6408999"/>
            <a:ext cx="270030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238" y="757709"/>
            <a:ext cx="11434763" cy="5335587"/>
          </a:xfrm>
        </p:spPr>
        <p:txBody>
          <a:bodyPr/>
          <a:lstStyle>
            <a:lvl1pPr marL="857272" marR="0" indent="-857272" algn="l" defTabSz="685818" rtl="0" eaLnBrk="1" fontAlgn="auto" latinLnBrk="0" hangingPunct="1">
              <a:lnSpc>
                <a:spcPct val="90000"/>
              </a:lnSpc>
              <a:spcBef>
                <a:spcPts val="674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600" b="1">
                <a:solidFill>
                  <a:schemeClr val="bg2"/>
                </a:solidFill>
              </a:defRPr>
            </a:lvl1pPr>
            <a:lvl2pPr marL="716774" indent="-71558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500" b="1">
                <a:solidFill>
                  <a:schemeClr val="tx2"/>
                </a:solidFill>
              </a:defRPr>
            </a:lvl2pPr>
            <a:lvl3pPr marL="716774" indent="-71558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500" b="1">
                <a:solidFill>
                  <a:schemeClr val="tx2"/>
                </a:solidFill>
              </a:defRPr>
            </a:lvl3pPr>
            <a:lvl4pPr marL="716774" indent="-71558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500" b="1">
                <a:solidFill>
                  <a:schemeClr val="tx2"/>
                </a:solidFill>
              </a:defRPr>
            </a:lvl4pPr>
            <a:lvl5pPr marL="716774" indent="-71558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5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hapter head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C6672E-B846-4B83-92D7-240878B7638E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1F5F44-82B7-FB02-9359-5A46492448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25000" y="391355"/>
            <a:ext cx="2286000" cy="54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81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3048000" y="-1587"/>
            <a:ext cx="304800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2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5449A7-2C50-4655-A44B-2F7825DD5395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131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41AF1E-F272-4933-A651-8FECCA59E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179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41AF1E-F272-4933-A651-8FECCA59E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4C3A91-5A88-6F49-B31C-7C3C6EB2A6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1" y="381000"/>
            <a:ext cx="3810000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5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A75C044-EF0B-6A4F-907C-515927B913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20000" y="381000"/>
            <a:ext cx="4191001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5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5C4D7CF-6868-C642-B298-65F96507D5D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429001" y="1143004"/>
            <a:ext cx="3810000" cy="4949825"/>
          </a:xfrm>
        </p:spPr>
        <p:txBody>
          <a:bodyPr tIns="0"/>
          <a:lstStyle>
            <a:lvl1pPr marL="0" marR="0" indent="0" algn="l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marL="0" marR="0" lvl="0" indent="0" algn="l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This is where you make your case with relevant evidence and information. Keep sentences concise. Avoid jargon and repetition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2878B453-1C2F-7042-9F43-39BF515D313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620000" y="1143004"/>
            <a:ext cx="4191001" cy="4949825"/>
          </a:xfrm>
        </p:spPr>
        <p:txBody>
          <a:bodyPr tIns="0"/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8721E0-3B2F-4A97-96C0-D4F6172B5F96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88E601CA-3A9D-4C57-866D-719817902E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4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68817C9F-B2AA-46D5-8766-8D5E783B6D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000" y="3810000"/>
            <a:ext cx="2286000" cy="74066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4A71F9C8-0685-4CE5-8B8B-3148C834A07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0" y="4550664"/>
            <a:ext cx="2285999" cy="912345"/>
          </a:xfrm>
        </p:spPr>
        <p:txBody>
          <a:bodyPr anchor="b"/>
          <a:lstStyle>
            <a:lvl1pPr>
              <a:defRPr sz="800"/>
            </a:lvl1pPr>
          </a:lstStyle>
          <a:p>
            <a:pPr marL="0" lv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00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ource: TETP</a:t>
            </a:r>
          </a:p>
        </p:txBody>
      </p:sp>
    </p:spTree>
    <p:extLst>
      <p:ext uri="{BB962C8B-B14F-4D97-AF65-F5344CB8AC3E}">
        <p14:creationId xmlns:p14="http://schemas.microsoft.com/office/powerpoint/2010/main" val="2118425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>
          <a:xfrm>
            <a:off x="3048003" y="0"/>
            <a:ext cx="3047999" cy="6858000"/>
          </a:xfrm>
          <a:prstGeom prst="rect">
            <a:avLst/>
          </a:prstGeom>
          <a:solidFill>
            <a:srgbClr val="F0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25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>
          <a:xfrm>
            <a:off x="6096000" y="0"/>
            <a:ext cx="3048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25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000" y="4"/>
            <a:ext cx="3048000" cy="2663825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4"/>
            <a:ext cx="3048000" cy="2663825"/>
          </a:xfrm>
          <a:solidFill>
            <a:srgbClr val="F0EFEF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7359" y="4"/>
            <a:ext cx="3048000" cy="2663825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9003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900"/>
              </a:spcBef>
              <a:spcAft>
                <a:spcPts val="0"/>
              </a:spcAft>
              <a:buNone/>
              <a:tabLst/>
              <a:defRPr b="1"/>
            </a:lvl3pPr>
            <a:lvl4pPr marL="135004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270007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900"/>
              </a:spcBef>
              <a:spcAft>
                <a:spcPts val="0"/>
              </a:spcAft>
              <a:buNone/>
              <a:tabLst/>
              <a:defRPr b="1"/>
            </a:lvl3pPr>
            <a:lvl4pPr marL="135004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270007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900"/>
              </a:spcBef>
              <a:spcAft>
                <a:spcPts val="0"/>
              </a:spcAft>
              <a:buNone/>
              <a:tabLst/>
              <a:defRPr b="1"/>
            </a:lvl3pPr>
            <a:lvl4pPr marL="135004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270007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3" y="381004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4EB530-C9AB-47DA-9252-5C8BF600395E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5CA75AA-8950-49EF-A6BF-795438BB6B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0" y="3810000"/>
            <a:ext cx="2286000" cy="74066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1B040243-4497-4238-8BC4-E0ED6792B7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000" y="4550664"/>
            <a:ext cx="2285999" cy="912345"/>
          </a:xfrm>
        </p:spPr>
        <p:txBody>
          <a:bodyPr anchor="b"/>
          <a:lstStyle>
            <a:lvl1pPr>
              <a:defRPr sz="800"/>
            </a:lvl1pPr>
          </a:lstStyle>
          <a:p>
            <a:pPr marL="0" lv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00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ource: TETP</a:t>
            </a:r>
          </a:p>
        </p:txBody>
      </p:sp>
    </p:spTree>
    <p:extLst>
      <p:ext uri="{BB962C8B-B14F-4D97-AF65-F5344CB8AC3E}">
        <p14:creationId xmlns:p14="http://schemas.microsoft.com/office/powerpoint/2010/main" val="3024148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8AE126-4944-4AD5-BFEA-CBC1D7A34F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699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8AE126-4944-4AD5-BFEA-CBC1D7A34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0" marR="0" lvl="0" indent="0" algn="l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0" marR="0" lvl="0" indent="0" algn="l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4" y="381004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35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4" y="3810003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35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1002" y="3810003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35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4" y="4187829"/>
            <a:ext cx="3810027" cy="983603"/>
          </a:xfrm>
        </p:spPr>
        <p:txBody>
          <a:bodyPr wrap="square" lIns="0" tIns="0" rIns="0" bIns="0" anchorCtr="0">
            <a:sp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6" y="4186242"/>
            <a:ext cx="3809266" cy="983603"/>
          </a:xfrm>
        </p:spPr>
        <p:txBody>
          <a:bodyPr wrap="square" lIns="0" tIns="0" rIns="0" bIns="0" anchorCtr="0">
            <a:spAutoFit/>
          </a:bodyPr>
          <a:lstStyle>
            <a:lvl1pPr>
              <a:defRPr sz="105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sz="1050">
                <a:solidFill>
                  <a:schemeClr val="bg2">
                    <a:lumMod val="75000"/>
                  </a:schemeClr>
                </a:solidFill>
              </a:defRPr>
            </a:lvl2pPr>
            <a:lvl3pPr>
              <a:defRPr sz="1050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050">
                <a:solidFill>
                  <a:schemeClr val="bg2">
                    <a:lumMod val="75000"/>
                  </a:schemeClr>
                </a:solidFill>
              </a:defRPr>
            </a:lvl4pPr>
            <a:lvl5pPr>
              <a:defRPr sz="105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5" y="765179"/>
            <a:ext cx="3810001" cy="1018227"/>
          </a:xfrm>
        </p:spPr>
        <p:txBody>
          <a:bodyPr wrap="square" lIns="0" tIns="0" rIns="0" bIns="0" anchorCtr="0">
            <a:sp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E9A0B98-0DF4-4A76-8628-69172B20F235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88A8361C-619B-4127-B931-EDCEBE30D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4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F5F3E10A-3E41-4E9B-AC85-29840E71E9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3810000"/>
            <a:ext cx="2286000" cy="74066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13EBA87-9A26-4209-9571-76B426FE2BD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0" y="4550664"/>
            <a:ext cx="2285999" cy="912345"/>
          </a:xfrm>
        </p:spPr>
        <p:txBody>
          <a:bodyPr anchor="b"/>
          <a:lstStyle>
            <a:lvl1pPr>
              <a:defRPr sz="800"/>
            </a:lvl1pPr>
          </a:lstStyle>
          <a:p>
            <a:pPr marL="0" lv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00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ource: TETP</a:t>
            </a:r>
          </a:p>
        </p:txBody>
      </p:sp>
    </p:spTree>
    <p:extLst>
      <p:ext uri="{BB962C8B-B14F-4D97-AF65-F5344CB8AC3E}">
        <p14:creationId xmlns:p14="http://schemas.microsoft.com/office/powerpoint/2010/main" val="3034389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_Standard_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821F2A-CECE-4222-9218-8B9B58EAA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559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821F2A-CECE-4222-9218-8B9B58EAA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3">
            <a:extLst>
              <a:ext uri="{FF2B5EF4-FFF2-40B4-BE49-F238E27FC236}">
                <a16:creationId xmlns:a16="http://schemas.microsoft.com/office/drawing/2014/main" id="{8117A900-B032-4BED-9115-F1FFCFCEC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709" y="389713"/>
            <a:ext cx="2277291" cy="2277287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DD2205-27B3-420E-A514-F9946F0E63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9709" y="3818709"/>
            <a:ext cx="2277291" cy="740664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8AC443E-CF7B-4EF7-B905-08C17706F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9709" y="4576791"/>
            <a:ext cx="2277291" cy="912345"/>
          </a:xfrm>
        </p:spPr>
        <p:txBody>
          <a:bodyPr anchor="b"/>
          <a:lstStyle>
            <a:lvl1pPr>
              <a:defRPr sz="800"/>
            </a:lvl1pPr>
          </a:lstStyle>
          <a:p>
            <a:pPr lvl="0"/>
            <a:r>
              <a:rPr lang="en-US"/>
              <a:t>Source: TETP</a:t>
            </a:r>
          </a:p>
        </p:txBody>
      </p:sp>
    </p:spTree>
    <p:extLst>
      <p:ext uri="{BB962C8B-B14F-4D97-AF65-F5344CB8AC3E}">
        <p14:creationId xmlns:p14="http://schemas.microsoft.com/office/powerpoint/2010/main" val="1922144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_Horizontal_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6EB0273-2213-41E9-9608-9923C098D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5687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6EB0273-2213-41E9-9608-9923C098D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CB0DB22E-3512-4E7D-BFF2-2B6D8C2E75DA}"/>
              </a:ext>
            </a:extLst>
          </p:cNvPr>
          <p:cNvSpPr/>
          <p:nvPr userDrawn="1"/>
        </p:nvSpPr>
        <p:spPr>
          <a:xfrm>
            <a:off x="381000" y="5085184"/>
            <a:ext cx="3626768" cy="1772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8ABDD21-FDB5-4BC7-A352-997226C5AD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709" y="389713"/>
            <a:ext cx="8754291" cy="553998"/>
          </a:xfrm>
        </p:spPr>
        <p:txBody>
          <a:bodyPr vert="horz" wrap="square" lIns="0" tIns="0" rIns="0" bIns="0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F458D9-158C-4B17-A32C-A238A1EBE3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709" y="1143001"/>
            <a:ext cx="11421050" cy="5325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B08E56-B33F-4C9A-A715-9D9C1B3665E0}"/>
              </a:ext>
            </a:extLst>
          </p:cNvPr>
          <p:cNvSpPr txBox="1"/>
          <p:nvPr userDrawn="1"/>
        </p:nvSpPr>
        <p:spPr>
          <a:xfrm>
            <a:off x="10524492" y="6581406"/>
            <a:ext cx="128650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B12F34E5-DC14-4D39-8A85-EBF61158EF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9709" y="6496471"/>
            <a:ext cx="5321345" cy="237284"/>
          </a:xfrm>
        </p:spPr>
        <p:txBody>
          <a:bodyPr anchor="b"/>
          <a:lstStyle>
            <a:lvl1pPr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ource: TETP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FD7CEF3-9B3E-3C39-75F5-F1588F4978F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25000" y="391355"/>
            <a:ext cx="2286000" cy="54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323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_Standard_Content" preserve="1">
  <p:cSld name="EN_Standard_Content">
    <p:bg>
      <p:bgPr>
        <a:solidFill>
          <a:schemeClr val="accent1"/>
        </a:solid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21"/>
          <p:cNvSpPr txBox="1">
            <a:spLocks noGrp="1"/>
          </p:cNvSpPr>
          <p:nvPr>
            <p:ph type="title"/>
          </p:nvPr>
        </p:nvSpPr>
        <p:spPr>
          <a:xfrm>
            <a:off x="389709" y="389713"/>
            <a:ext cx="2277291" cy="2277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1"/>
          <p:cNvSpPr txBox="1">
            <a:spLocks noGrp="1"/>
          </p:cNvSpPr>
          <p:nvPr>
            <p:ph type="body" idx="1"/>
          </p:nvPr>
        </p:nvSpPr>
        <p:spPr>
          <a:xfrm>
            <a:off x="389709" y="3818709"/>
            <a:ext cx="2277291" cy="740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1"/>
              <a:buNone/>
              <a:defRPr b="1"/>
            </a:lvl1pPr>
            <a:lvl2pPr marL="914400" lvl="1" indent="-3429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5pPr>
            <a:lvl6pPr marL="2743200" lvl="5" indent="-2286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21"/>
          <p:cNvSpPr txBox="1">
            <a:spLocks noGrp="1"/>
          </p:cNvSpPr>
          <p:nvPr>
            <p:ph type="body" idx="2"/>
          </p:nvPr>
        </p:nvSpPr>
        <p:spPr>
          <a:xfrm>
            <a:off x="389709" y="4576791"/>
            <a:ext cx="2277291" cy="912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1pPr>
            <a:lvl2pPr marL="914400" lvl="1" indent="-3429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5pPr>
            <a:lvl6pPr marL="2743200" lvl="5" indent="-2286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905936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821F2A-CECE-4222-9218-8B9B58EAA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68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821F2A-CECE-4222-9218-8B9B58EAA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11171A1-783E-47BF-ADBA-51248DF70A96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2">
                    <a:lumMod val="75000"/>
                  </a:schemeClr>
                </a:solidFill>
              </a:rPr>
              <a:pPr algn="r"/>
              <a:t>‹#›</a:t>
            </a:fld>
            <a:endParaRPr lang="en-US" sz="1200" b="1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8117A900-B032-4BED-9115-F1FFCFCEC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4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DD2205-27B3-420E-A514-F9946F0E63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3810000"/>
            <a:ext cx="2286000" cy="74066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8AC443E-CF7B-4EF7-B905-08C17706F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0" y="4550664"/>
            <a:ext cx="2285999" cy="912345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marL="0" lv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00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ource: TETP</a:t>
            </a:r>
          </a:p>
        </p:txBody>
      </p:sp>
    </p:spTree>
    <p:extLst>
      <p:ext uri="{BB962C8B-B14F-4D97-AF65-F5344CB8AC3E}">
        <p14:creationId xmlns:p14="http://schemas.microsoft.com/office/powerpoint/2010/main" val="39722998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_Horizontal_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6EB0273-2213-41E9-9608-9923C098D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36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6EB0273-2213-41E9-9608-9923C098D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CB0DB22E-3512-4E7D-BFF2-2B6D8C2E75DA}"/>
              </a:ext>
            </a:extLst>
          </p:cNvPr>
          <p:cNvSpPr/>
          <p:nvPr userDrawn="1"/>
        </p:nvSpPr>
        <p:spPr>
          <a:xfrm>
            <a:off x="381000" y="5085184"/>
            <a:ext cx="3626768" cy="1772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8ABDD21-FDB5-4BC7-A352-997226C5AD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2325" y="389713"/>
            <a:ext cx="8754291" cy="553998"/>
          </a:xfrm>
        </p:spPr>
        <p:txBody>
          <a:bodyPr vert="horz" wrap="square" lIns="0" tIns="0" rIns="0" bIns="0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F458D9-158C-4B17-A32C-A238A1EBE3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709" y="1143001"/>
            <a:ext cx="11421050" cy="5325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B08E56-B33F-4C9A-A715-9D9C1B3665E0}"/>
              </a:ext>
            </a:extLst>
          </p:cNvPr>
          <p:cNvSpPr txBox="1"/>
          <p:nvPr userDrawn="1"/>
        </p:nvSpPr>
        <p:spPr>
          <a:xfrm>
            <a:off x="0" y="6586970"/>
            <a:ext cx="128650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ar-SA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محظور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FD7CEF3-9B3E-3C39-75F5-F1588F4978F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384" y="374913"/>
            <a:ext cx="2286000" cy="54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541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821F2A-CECE-4222-9218-8B9B58EAA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587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821F2A-CECE-4222-9218-8B9B58EAA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1872A842-92C6-13F5-CC0D-5DA773238757}"/>
              </a:ext>
            </a:extLst>
          </p:cNvPr>
          <p:cNvSpPr/>
          <p:nvPr userDrawn="1"/>
        </p:nvSpPr>
        <p:spPr>
          <a:xfrm>
            <a:off x="0" y="1524000"/>
            <a:ext cx="12191999" cy="533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5FCC0A-FB89-C294-231F-1EF976F2756B}"/>
              </a:ext>
            </a:extLst>
          </p:cNvPr>
          <p:cNvSpPr/>
          <p:nvPr userDrawn="1"/>
        </p:nvSpPr>
        <p:spPr>
          <a:xfrm>
            <a:off x="0" y="3176"/>
            <a:ext cx="12191999" cy="1520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1171A1-783E-47BF-ADBA-51248DF70A96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2">
                    <a:lumMod val="75000"/>
                  </a:schemeClr>
                </a:solidFill>
              </a:rPr>
              <a:pPr algn="r"/>
              <a:t>‹#›</a:t>
            </a:fld>
            <a:endParaRPr lang="en-US" sz="1200" b="1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8117A900-B032-4BED-9115-F1FFCFCEC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5"/>
            <a:ext cx="8001000" cy="56371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DD2205-27B3-420E-A514-F9946F0E63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1909064"/>
            <a:ext cx="3429000" cy="74066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AB0097-D77E-D8B0-97F7-F9A33C50459B}"/>
              </a:ext>
            </a:extLst>
          </p:cNvPr>
          <p:cNvSpPr txBox="1"/>
          <p:nvPr userDrawn="1"/>
        </p:nvSpPr>
        <p:spPr>
          <a:xfrm>
            <a:off x="9120336" y="1153011"/>
            <a:ext cx="270030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22C8E9D-59A7-99C9-C17E-893CEBD6BA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25000" y="391355"/>
            <a:ext cx="2286000" cy="54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722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177A8C-B67C-4D2A-A26D-8697D70527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337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177A8C-B67C-4D2A-A26D-8697D70527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09CDDE7-030D-4A48-89AA-8A4AC417069A}"/>
              </a:ext>
            </a:extLst>
          </p:cNvPr>
          <p:cNvSpPr/>
          <p:nvPr userDrawn="1"/>
        </p:nvSpPr>
        <p:spPr>
          <a:xfrm>
            <a:off x="3176" y="3176"/>
            <a:ext cx="12188824" cy="6854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DDB561-83A4-4B10-BB6E-E4337C09874F}"/>
              </a:ext>
            </a:extLst>
          </p:cNvPr>
          <p:cNvSpPr txBox="1"/>
          <p:nvPr userDrawn="1"/>
        </p:nvSpPr>
        <p:spPr>
          <a:xfrm>
            <a:off x="9120336" y="6408999"/>
            <a:ext cx="270030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238" y="757709"/>
            <a:ext cx="11434763" cy="5335587"/>
          </a:xfrm>
        </p:spPr>
        <p:txBody>
          <a:bodyPr/>
          <a:lstStyle>
            <a:lvl1pPr marL="857272" marR="0" indent="-857272" algn="l" defTabSz="685818" rtl="0" eaLnBrk="1" fontAlgn="auto" latinLnBrk="0" hangingPunct="1">
              <a:lnSpc>
                <a:spcPct val="90000"/>
              </a:lnSpc>
              <a:spcBef>
                <a:spcPts val="674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600" b="1">
                <a:solidFill>
                  <a:schemeClr val="bg2"/>
                </a:solidFill>
              </a:defRPr>
            </a:lvl1pPr>
            <a:lvl2pPr marL="716774" indent="-71558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500" b="1">
                <a:solidFill>
                  <a:schemeClr val="tx2"/>
                </a:solidFill>
              </a:defRPr>
            </a:lvl2pPr>
            <a:lvl3pPr marL="716774" indent="-71558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500" b="1">
                <a:solidFill>
                  <a:schemeClr val="tx2"/>
                </a:solidFill>
              </a:defRPr>
            </a:lvl3pPr>
            <a:lvl4pPr marL="716774" indent="-71558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500" b="1">
                <a:solidFill>
                  <a:schemeClr val="tx2"/>
                </a:solidFill>
              </a:defRPr>
            </a:lvl4pPr>
            <a:lvl5pPr marL="716774" indent="-71558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5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hapter head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C6672E-B846-4B83-92D7-240878B7638E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2"/>
                </a:solidFill>
              </a:rPr>
              <a:pPr algn="r"/>
              <a:t>‹#›</a:t>
            </a:fld>
            <a:endParaRPr lang="en-US" sz="12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733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3048000" y="-1587"/>
            <a:ext cx="304800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2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5449A7-2C50-4655-A44B-2F7825DD5395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55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41AF1E-F272-4933-A651-8FECCA59E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179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41AF1E-F272-4933-A651-8FECCA59E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4C3A91-5A88-6F49-B31C-7C3C6EB2A6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1" y="381000"/>
            <a:ext cx="3810000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5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A75C044-EF0B-6A4F-907C-515927B913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20000" y="381000"/>
            <a:ext cx="4191001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5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5C4D7CF-6868-C642-B298-65F96507D5D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429001" y="1143004"/>
            <a:ext cx="3810000" cy="4949825"/>
          </a:xfrm>
        </p:spPr>
        <p:txBody>
          <a:bodyPr tIns="0"/>
          <a:lstStyle>
            <a:lvl1pPr marL="0" marR="0" indent="0" algn="l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marL="0" marR="0" lvl="0" indent="0" algn="l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This is where you make your case with relevant evidence and information. Keep sentences concise. Avoid jargon and repetition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2878B453-1C2F-7042-9F43-39BF515D313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620000" y="1143004"/>
            <a:ext cx="4191001" cy="4949825"/>
          </a:xfrm>
        </p:spPr>
        <p:txBody>
          <a:bodyPr tIns="0"/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8721E0-3B2F-4A97-96C0-D4F6172B5F96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88E601CA-3A9D-4C57-866D-719817902E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4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68817C9F-B2AA-46D5-8766-8D5E783B6D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000" y="3810000"/>
            <a:ext cx="2286000" cy="74066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4A71F9C8-0685-4CE5-8B8B-3148C834A07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0" y="4550664"/>
            <a:ext cx="2285999" cy="912345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marL="0" lv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00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ource: TETP</a:t>
            </a:r>
          </a:p>
        </p:txBody>
      </p:sp>
    </p:spTree>
    <p:extLst>
      <p:ext uri="{BB962C8B-B14F-4D97-AF65-F5344CB8AC3E}">
        <p14:creationId xmlns:p14="http://schemas.microsoft.com/office/powerpoint/2010/main" val="3386252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>
          <a:xfrm>
            <a:off x="3048003" y="0"/>
            <a:ext cx="3047999" cy="6858000"/>
          </a:xfrm>
          <a:prstGeom prst="rect">
            <a:avLst/>
          </a:prstGeom>
          <a:solidFill>
            <a:srgbClr val="F0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25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>
          <a:xfrm>
            <a:off x="6096000" y="0"/>
            <a:ext cx="3048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25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000" y="4"/>
            <a:ext cx="3048000" cy="2663825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4"/>
            <a:ext cx="3048000" cy="2663825"/>
          </a:xfrm>
          <a:solidFill>
            <a:srgbClr val="F0EFEF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7359" y="4"/>
            <a:ext cx="3048000" cy="2663825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9003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900"/>
              </a:spcBef>
              <a:spcAft>
                <a:spcPts val="0"/>
              </a:spcAft>
              <a:buNone/>
              <a:tabLst/>
              <a:defRPr b="1"/>
            </a:lvl3pPr>
            <a:lvl4pPr marL="135004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270007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900"/>
              </a:spcBef>
              <a:spcAft>
                <a:spcPts val="0"/>
              </a:spcAft>
              <a:buNone/>
              <a:tabLst/>
              <a:defRPr b="1"/>
            </a:lvl3pPr>
            <a:lvl4pPr marL="135004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270007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900"/>
              </a:spcBef>
              <a:spcAft>
                <a:spcPts val="0"/>
              </a:spcAft>
              <a:buNone/>
              <a:tabLst/>
              <a:defRPr b="1"/>
            </a:lvl3pPr>
            <a:lvl4pPr marL="135004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270007" indent="-135004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3" y="381004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4EB530-C9AB-47DA-9252-5C8BF600395E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5CA75AA-8950-49EF-A6BF-795438BB6B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0" y="3810000"/>
            <a:ext cx="2286000" cy="74066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1B040243-4497-4238-8BC4-E0ED6792B7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000" y="4550664"/>
            <a:ext cx="2285999" cy="912345"/>
          </a:xfrm>
        </p:spPr>
        <p:txBody>
          <a:bodyPr anchor="b"/>
          <a:lstStyle>
            <a:lvl1pPr>
              <a:defRPr sz="800"/>
            </a:lvl1pPr>
          </a:lstStyle>
          <a:p>
            <a:pPr marL="0" lv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00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ource: TETP</a:t>
            </a:r>
          </a:p>
        </p:txBody>
      </p:sp>
    </p:spTree>
    <p:extLst>
      <p:ext uri="{BB962C8B-B14F-4D97-AF65-F5344CB8AC3E}">
        <p14:creationId xmlns:p14="http://schemas.microsoft.com/office/powerpoint/2010/main" val="1560229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8AE126-4944-4AD5-BFEA-CBC1D7A34F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699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8AE126-4944-4AD5-BFEA-CBC1D7A34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0" marR="0" lvl="0" indent="0" algn="l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0" marR="0" lvl="0" indent="0" algn="l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4" y="381004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35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4" y="3810003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35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1002" y="3810003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35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4" y="4187829"/>
            <a:ext cx="3810027" cy="983603"/>
          </a:xfrm>
        </p:spPr>
        <p:txBody>
          <a:bodyPr wrap="square" lIns="0" tIns="0" rIns="0" bIns="0" anchorCtr="0">
            <a:sp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6" y="4186242"/>
            <a:ext cx="3809266" cy="983603"/>
          </a:xfrm>
        </p:spPr>
        <p:txBody>
          <a:bodyPr wrap="square" lIns="0" tIns="0" rIns="0" bIns="0" anchorCtr="0">
            <a:spAutoFit/>
          </a:bodyPr>
          <a:lstStyle>
            <a:lvl1pPr>
              <a:defRPr sz="105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sz="1050">
                <a:solidFill>
                  <a:schemeClr val="bg2">
                    <a:lumMod val="75000"/>
                  </a:schemeClr>
                </a:solidFill>
              </a:defRPr>
            </a:lvl2pPr>
            <a:lvl3pPr>
              <a:defRPr sz="1050">
                <a:solidFill>
                  <a:schemeClr val="bg2">
                    <a:lumMod val="75000"/>
                  </a:schemeClr>
                </a:solidFill>
              </a:defRPr>
            </a:lvl3pPr>
            <a:lvl4pPr>
              <a:defRPr sz="1050">
                <a:solidFill>
                  <a:schemeClr val="bg2">
                    <a:lumMod val="75000"/>
                  </a:schemeClr>
                </a:solidFill>
              </a:defRPr>
            </a:lvl4pPr>
            <a:lvl5pPr>
              <a:defRPr sz="105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5" y="765179"/>
            <a:ext cx="3810001" cy="1018227"/>
          </a:xfrm>
        </p:spPr>
        <p:txBody>
          <a:bodyPr wrap="square" lIns="0" tIns="0" rIns="0" bIns="0" anchorCtr="0">
            <a:sp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E9A0B98-0DF4-4A76-8628-69172B20F235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88A8361C-619B-4127-B931-EDCEBE30D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4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F5F3E10A-3E41-4E9B-AC85-29840E71E9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3810000"/>
            <a:ext cx="2286000" cy="740664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13EBA87-9A26-4209-9571-76B426FE2BD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0" y="4550664"/>
            <a:ext cx="2285999" cy="912345"/>
          </a:xfrm>
        </p:spPr>
        <p:txBody>
          <a:bodyPr anchor="b"/>
          <a:lstStyle>
            <a:lvl1pPr>
              <a:defRPr sz="800"/>
            </a:lvl1pPr>
          </a:lstStyle>
          <a:p>
            <a:pPr marL="0" lv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00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ource: TETP</a:t>
            </a:r>
          </a:p>
        </p:txBody>
      </p:sp>
    </p:spTree>
    <p:extLst>
      <p:ext uri="{BB962C8B-B14F-4D97-AF65-F5344CB8AC3E}">
        <p14:creationId xmlns:p14="http://schemas.microsoft.com/office/powerpoint/2010/main" val="3214499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1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31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30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1809759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>
          <a:xfrm>
            <a:off x="0" y="4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81000"/>
            <a:ext cx="2286000" cy="228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2" y="381000"/>
            <a:ext cx="8378825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F6EEA3-2E52-4E6C-B9A8-118544629F07}"/>
              </a:ext>
            </a:extLst>
          </p:cNvPr>
          <p:cNvSpPr txBox="1"/>
          <p:nvPr userDrawn="1"/>
        </p:nvSpPr>
        <p:spPr>
          <a:xfrm>
            <a:off x="173851" y="5738611"/>
            <a:ext cx="270030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3F1791-4180-48E4-A1FE-3DE6689795D2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22E998D-385F-55A4-5A1E-9659A1BD3BD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001" y="6072282"/>
            <a:ext cx="2286000" cy="54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141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 dt="0"/>
  <p:txStyles>
    <p:titleStyle>
      <a:lvl1pPr marL="0" algn="l" defTabSz="685818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defRPr lang="en-US" sz="1401" kern="1200" noProof="0" dirty="0" smtClean="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35004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270007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405011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540014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6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4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3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pos="240">
          <p15:clr>
            <a:srgbClr val="B4B4B4"/>
          </p15:clr>
        </p15:guide>
        <p15:guide id="19" pos="480">
          <p15:clr>
            <a:srgbClr val="B4B4B4"/>
          </p15:clr>
        </p15:guide>
        <p15:guide id="20" pos="720">
          <p15:clr>
            <a:srgbClr val="B4B4B4"/>
          </p15:clr>
        </p15:guide>
        <p15:guide id="21" pos="960">
          <p15:clr>
            <a:srgbClr val="B4B4B4"/>
          </p15:clr>
        </p15:guide>
        <p15:guide id="22" pos="1200">
          <p15:clr>
            <a:srgbClr val="B4B4B4"/>
          </p15:clr>
        </p15:guide>
        <p15:guide id="23" pos="1440">
          <p15:clr>
            <a:srgbClr val="B4B4B4"/>
          </p15:clr>
        </p15:guide>
        <p15:guide id="24" pos="1680">
          <p15:clr>
            <a:srgbClr val="B4B4B4"/>
          </p15:clr>
        </p15:guide>
        <p15:guide id="25" pos="1920">
          <p15:clr>
            <a:srgbClr val="B4B4B4"/>
          </p15:clr>
        </p15:guide>
        <p15:guide id="26" pos="2160">
          <p15:clr>
            <a:srgbClr val="B4B4B4"/>
          </p15:clr>
        </p15:guide>
        <p15:guide id="27" pos="2400">
          <p15:clr>
            <a:srgbClr val="B4B4B4"/>
          </p15:clr>
        </p15:guide>
        <p15:guide id="28" pos="2640">
          <p15:clr>
            <a:srgbClr val="B4B4B4"/>
          </p15:clr>
        </p15:guide>
        <p15:guide id="29" pos="2880">
          <p15:clr>
            <a:srgbClr val="B4B4B4"/>
          </p15:clr>
        </p15:guide>
        <p15:guide id="30" pos="3120">
          <p15:clr>
            <a:srgbClr val="B4B4B4"/>
          </p15:clr>
        </p15:guide>
        <p15:guide id="31" pos="3360">
          <p15:clr>
            <a:srgbClr val="B4B4B4"/>
          </p15:clr>
        </p15:guide>
        <p15:guide id="32" pos="3600">
          <p15:clr>
            <a:srgbClr val="B4B4B4"/>
          </p15:clr>
        </p15:guide>
        <p15:guide id="33" pos="3840">
          <p15:clr>
            <a:srgbClr val="B4B4B4"/>
          </p15:clr>
        </p15:guide>
        <p15:guide id="34" pos="4080">
          <p15:clr>
            <a:srgbClr val="B4B4B4"/>
          </p15:clr>
        </p15:guide>
        <p15:guide id="35" pos="4320">
          <p15:clr>
            <a:srgbClr val="B4B4B4"/>
          </p15:clr>
        </p15:guide>
        <p15:guide id="36" pos="4560">
          <p15:clr>
            <a:srgbClr val="B4B4B4"/>
          </p15:clr>
        </p15:guide>
        <p15:guide id="37" pos="4800">
          <p15:clr>
            <a:srgbClr val="B4B4B4"/>
          </p15:clr>
        </p15:guide>
        <p15:guide id="38" pos="5040">
          <p15:clr>
            <a:srgbClr val="B4B4B4"/>
          </p15:clr>
        </p15:guide>
        <p15:guide id="39" pos="5280">
          <p15:clr>
            <a:srgbClr val="B4B4B4"/>
          </p15:clr>
        </p15:guide>
        <p15:guide id="40" pos="5520">
          <p15:clr>
            <a:srgbClr val="B4B4B4"/>
          </p15:clr>
        </p15:guide>
        <p15:guide id="41" pos="5760">
          <p15:clr>
            <a:srgbClr val="B4B4B4"/>
          </p15:clr>
        </p15:guide>
        <p15:guide id="42" pos="6000">
          <p15:clr>
            <a:srgbClr val="B4B4B4"/>
          </p15:clr>
        </p15:guide>
        <p15:guide id="43" pos="6240">
          <p15:clr>
            <a:srgbClr val="B4B4B4"/>
          </p15:clr>
        </p15:guide>
        <p15:guide id="44" pos="6480">
          <p15:clr>
            <a:srgbClr val="B4B4B4"/>
          </p15:clr>
        </p15:guide>
        <p15:guide id="45" pos="6720">
          <p15:clr>
            <a:srgbClr val="B4B4B4"/>
          </p15:clr>
        </p15:guide>
        <p15:guide id="46" pos="6960">
          <p15:clr>
            <a:srgbClr val="B4B4B4"/>
          </p15:clr>
        </p15:guide>
        <p15:guide id="47" pos="7200">
          <p15:clr>
            <a:srgbClr val="B4B4B4"/>
          </p15:clr>
        </p15:guide>
        <p15:guide id="48" pos="7440">
          <p15:clr>
            <a:srgbClr val="B4B4B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0546573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>
          <a:xfrm>
            <a:off x="0" y="4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710" y="389709"/>
            <a:ext cx="2277290" cy="22772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37711" y="389709"/>
            <a:ext cx="8378825" cy="60872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F6EEA3-2E52-4E6C-B9A8-118544629F07}"/>
              </a:ext>
            </a:extLst>
          </p:cNvPr>
          <p:cNvSpPr txBox="1"/>
          <p:nvPr userDrawn="1"/>
        </p:nvSpPr>
        <p:spPr>
          <a:xfrm>
            <a:off x="173851" y="5733256"/>
            <a:ext cx="270030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3F1791-4180-48E4-A1FE-3DE6689795D2}"/>
              </a:ext>
            </a:extLst>
          </p:cNvPr>
          <p:cNvSpPr txBox="1"/>
          <p:nvPr userDrawn="1"/>
        </p:nvSpPr>
        <p:spPr>
          <a:xfrm>
            <a:off x="0" y="6595256"/>
            <a:ext cx="312504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F37772-2CCE-37B1-985E-5FB2E850106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62274" y="6100425"/>
            <a:ext cx="923452" cy="564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719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5" r:id="rId4"/>
    <p:sldLayoutId id="2147483696" r:id="rId5"/>
    <p:sldLayoutId id="2147483697" r:id="rId6"/>
  </p:sldLayoutIdLst>
  <p:hf hdr="0" ftr="0" dt="0"/>
  <p:txStyles>
    <p:titleStyle>
      <a:lvl1pPr marL="0" algn="l" defTabSz="685818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defRPr lang="en-US" sz="1401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35004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/>
          </a:solidFill>
          <a:latin typeface="+mn-lt"/>
          <a:ea typeface="+mn-ea"/>
          <a:cs typeface="+mn-cs"/>
        </a:defRPr>
      </a:lvl2pPr>
      <a:lvl3pPr marL="270007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/>
          </a:solidFill>
          <a:latin typeface="+mn-lt"/>
          <a:ea typeface="+mn-ea"/>
          <a:cs typeface="+mn-cs"/>
        </a:defRPr>
      </a:lvl3pPr>
      <a:lvl4pPr marL="405011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/>
          </a:solidFill>
          <a:latin typeface="+mn-lt"/>
          <a:ea typeface="+mn-ea"/>
          <a:cs typeface="+mn-cs"/>
        </a:defRPr>
      </a:lvl4pPr>
      <a:lvl5pPr marL="540014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6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4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3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pos="240">
          <p15:clr>
            <a:srgbClr val="B4B4B4"/>
          </p15:clr>
        </p15:guide>
        <p15:guide id="19" pos="480">
          <p15:clr>
            <a:srgbClr val="B4B4B4"/>
          </p15:clr>
        </p15:guide>
        <p15:guide id="20" pos="720">
          <p15:clr>
            <a:srgbClr val="B4B4B4"/>
          </p15:clr>
        </p15:guide>
        <p15:guide id="21" pos="960">
          <p15:clr>
            <a:srgbClr val="B4B4B4"/>
          </p15:clr>
        </p15:guide>
        <p15:guide id="22" pos="1200">
          <p15:clr>
            <a:srgbClr val="B4B4B4"/>
          </p15:clr>
        </p15:guide>
        <p15:guide id="23" pos="1440">
          <p15:clr>
            <a:srgbClr val="B4B4B4"/>
          </p15:clr>
        </p15:guide>
        <p15:guide id="24" pos="1680">
          <p15:clr>
            <a:srgbClr val="B4B4B4"/>
          </p15:clr>
        </p15:guide>
        <p15:guide id="25" pos="1920">
          <p15:clr>
            <a:srgbClr val="B4B4B4"/>
          </p15:clr>
        </p15:guide>
        <p15:guide id="26" pos="2160">
          <p15:clr>
            <a:srgbClr val="B4B4B4"/>
          </p15:clr>
        </p15:guide>
        <p15:guide id="27" pos="2400">
          <p15:clr>
            <a:srgbClr val="B4B4B4"/>
          </p15:clr>
        </p15:guide>
        <p15:guide id="28" pos="2640">
          <p15:clr>
            <a:srgbClr val="B4B4B4"/>
          </p15:clr>
        </p15:guide>
        <p15:guide id="29" pos="2880">
          <p15:clr>
            <a:srgbClr val="B4B4B4"/>
          </p15:clr>
        </p15:guide>
        <p15:guide id="30" pos="3120">
          <p15:clr>
            <a:srgbClr val="B4B4B4"/>
          </p15:clr>
        </p15:guide>
        <p15:guide id="31" pos="3360">
          <p15:clr>
            <a:srgbClr val="B4B4B4"/>
          </p15:clr>
        </p15:guide>
        <p15:guide id="32" pos="3600">
          <p15:clr>
            <a:srgbClr val="B4B4B4"/>
          </p15:clr>
        </p15:guide>
        <p15:guide id="33" pos="3840">
          <p15:clr>
            <a:srgbClr val="B4B4B4"/>
          </p15:clr>
        </p15:guide>
        <p15:guide id="34" pos="4080">
          <p15:clr>
            <a:srgbClr val="B4B4B4"/>
          </p15:clr>
        </p15:guide>
        <p15:guide id="35" pos="4320">
          <p15:clr>
            <a:srgbClr val="B4B4B4"/>
          </p15:clr>
        </p15:guide>
        <p15:guide id="36" pos="4560">
          <p15:clr>
            <a:srgbClr val="B4B4B4"/>
          </p15:clr>
        </p15:guide>
        <p15:guide id="37" pos="4800">
          <p15:clr>
            <a:srgbClr val="B4B4B4"/>
          </p15:clr>
        </p15:guide>
        <p15:guide id="38" pos="5040">
          <p15:clr>
            <a:srgbClr val="B4B4B4"/>
          </p15:clr>
        </p15:guide>
        <p15:guide id="39" pos="5280">
          <p15:clr>
            <a:srgbClr val="B4B4B4"/>
          </p15:clr>
        </p15:guide>
        <p15:guide id="40" pos="5520">
          <p15:clr>
            <a:srgbClr val="B4B4B4"/>
          </p15:clr>
        </p15:guide>
        <p15:guide id="41" pos="5760">
          <p15:clr>
            <a:srgbClr val="B4B4B4"/>
          </p15:clr>
        </p15:guide>
        <p15:guide id="42" pos="6000">
          <p15:clr>
            <a:srgbClr val="B4B4B4"/>
          </p15:clr>
        </p15:guide>
        <p15:guide id="43" pos="6240">
          <p15:clr>
            <a:srgbClr val="B4B4B4"/>
          </p15:clr>
        </p15:guide>
        <p15:guide id="44" pos="6480">
          <p15:clr>
            <a:srgbClr val="B4B4B4"/>
          </p15:clr>
        </p15:guide>
        <p15:guide id="45" pos="6720">
          <p15:clr>
            <a:srgbClr val="B4B4B4"/>
          </p15:clr>
        </p15:guide>
        <p15:guide id="46" pos="6960">
          <p15:clr>
            <a:srgbClr val="B4B4B4"/>
          </p15:clr>
        </p15:guide>
        <p15:guide id="47" pos="7200">
          <p15:clr>
            <a:srgbClr val="B4B4B4"/>
          </p15:clr>
        </p15:guide>
        <p15:guide id="48" pos="7440">
          <p15:clr>
            <a:srgbClr val="B4B4B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1809759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>
          <a:xfrm>
            <a:off x="0" y="4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81000"/>
            <a:ext cx="2286000" cy="228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2" y="381000"/>
            <a:ext cx="8378825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F6EEA3-2E52-4E6C-B9A8-118544629F07}"/>
              </a:ext>
            </a:extLst>
          </p:cNvPr>
          <p:cNvSpPr txBox="1"/>
          <p:nvPr userDrawn="1"/>
        </p:nvSpPr>
        <p:spPr>
          <a:xfrm>
            <a:off x="173851" y="5738611"/>
            <a:ext cx="270030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F5F5F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stricted Acce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3F1791-4180-48E4-A1FE-3DE6689795D2}"/>
              </a:ext>
            </a:extLst>
          </p:cNvPr>
          <p:cNvSpPr txBox="1"/>
          <p:nvPr userDrawn="1"/>
        </p:nvSpPr>
        <p:spPr>
          <a:xfrm>
            <a:off x="111062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1200" b="1">
                <a:solidFill>
                  <a:schemeClr val="tx1"/>
                </a:solidFill>
              </a:rPr>
              <a:pPr algn="r"/>
              <a:t>‹#›</a:t>
            </a:fld>
            <a:endParaRPr lang="en-US" sz="1200" b="1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22E998D-385F-55A4-5A1E-9659A1BD3BDE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001" y="6072282"/>
            <a:ext cx="2286000" cy="54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922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5" r:id="rId13"/>
  </p:sldLayoutIdLst>
  <p:hf hdr="0" ftr="0" dt="0"/>
  <p:txStyles>
    <p:titleStyle>
      <a:lvl1pPr marL="0" algn="l" defTabSz="685818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defRPr lang="en-US" sz="1401" kern="1200" noProof="0" dirty="0" smtClean="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35004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270007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405011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540014" indent="-135004" algn="l" defTabSz="685818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System Font Regular"/>
        <a:buChar char="–"/>
        <a:tabLst/>
        <a:defRPr sz="1401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18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Font typeface="Arial" panose="020B0604020202020204" pitchFamily="34" charset="0"/>
        <a:buNone/>
        <a:tabLst/>
        <a:defRPr sz="8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6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4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3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2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pos="240">
          <p15:clr>
            <a:srgbClr val="B4B4B4"/>
          </p15:clr>
        </p15:guide>
        <p15:guide id="19" pos="480">
          <p15:clr>
            <a:srgbClr val="B4B4B4"/>
          </p15:clr>
        </p15:guide>
        <p15:guide id="20" pos="720">
          <p15:clr>
            <a:srgbClr val="B4B4B4"/>
          </p15:clr>
        </p15:guide>
        <p15:guide id="21" pos="960">
          <p15:clr>
            <a:srgbClr val="B4B4B4"/>
          </p15:clr>
        </p15:guide>
        <p15:guide id="22" pos="1200">
          <p15:clr>
            <a:srgbClr val="B4B4B4"/>
          </p15:clr>
        </p15:guide>
        <p15:guide id="23" pos="1440">
          <p15:clr>
            <a:srgbClr val="B4B4B4"/>
          </p15:clr>
        </p15:guide>
        <p15:guide id="24" pos="1680">
          <p15:clr>
            <a:srgbClr val="B4B4B4"/>
          </p15:clr>
        </p15:guide>
        <p15:guide id="25" pos="1920">
          <p15:clr>
            <a:srgbClr val="B4B4B4"/>
          </p15:clr>
        </p15:guide>
        <p15:guide id="26" pos="2160">
          <p15:clr>
            <a:srgbClr val="B4B4B4"/>
          </p15:clr>
        </p15:guide>
        <p15:guide id="27" pos="2400">
          <p15:clr>
            <a:srgbClr val="B4B4B4"/>
          </p15:clr>
        </p15:guide>
        <p15:guide id="28" pos="2640">
          <p15:clr>
            <a:srgbClr val="B4B4B4"/>
          </p15:clr>
        </p15:guide>
        <p15:guide id="29" pos="2880">
          <p15:clr>
            <a:srgbClr val="B4B4B4"/>
          </p15:clr>
        </p15:guide>
        <p15:guide id="30" pos="3120">
          <p15:clr>
            <a:srgbClr val="B4B4B4"/>
          </p15:clr>
        </p15:guide>
        <p15:guide id="31" pos="3360">
          <p15:clr>
            <a:srgbClr val="B4B4B4"/>
          </p15:clr>
        </p15:guide>
        <p15:guide id="32" pos="3600">
          <p15:clr>
            <a:srgbClr val="B4B4B4"/>
          </p15:clr>
        </p15:guide>
        <p15:guide id="33" pos="3840">
          <p15:clr>
            <a:srgbClr val="B4B4B4"/>
          </p15:clr>
        </p15:guide>
        <p15:guide id="34" pos="4080">
          <p15:clr>
            <a:srgbClr val="B4B4B4"/>
          </p15:clr>
        </p15:guide>
        <p15:guide id="35" pos="4320">
          <p15:clr>
            <a:srgbClr val="B4B4B4"/>
          </p15:clr>
        </p15:guide>
        <p15:guide id="36" pos="4560">
          <p15:clr>
            <a:srgbClr val="B4B4B4"/>
          </p15:clr>
        </p15:guide>
        <p15:guide id="37" pos="4800">
          <p15:clr>
            <a:srgbClr val="B4B4B4"/>
          </p15:clr>
        </p15:guide>
        <p15:guide id="38" pos="5040">
          <p15:clr>
            <a:srgbClr val="B4B4B4"/>
          </p15:clr>
        </p15:guide>
        <p15:guide id="39" pos="5280">
          <p15:clr>
            <a:srgbClr val="B4B4B4"/>
          </p15:clr>
        </p15:guide>
        <p15:guide id="40" pos="5520">
          <p15:clr>
            <a:srgbClr val="B4B4B4"/>
          </p15:clr>
        </p15:guide>
        <p15:guide id="41" pos="5760">
          <p15:clr>
            <a:srgbClr val="B4B4B4"/>
          </p15:clr>
        </p15:guide>
        <p15:guide id="42" pos="6000">
          <p15:clr>
            <a:srgbClr val="B4B4B4"/>
          </p15:clr>
        </p15:guide>
        <p15:guide id="43" pos="6240">
          <p15:clr>
            <a:srgbClr val="B4B4B4"/>
          </p15:clr>
        </p15:guide>
        <p15:guide id="44" pos="6480">
          <p15:clr>
            <a:srgbClr val="B4B4B4"/>
          </p15:clr>
        </p15:guide>
        <p15:guide id="45" pos="6720">
          <p15:clr>
            <a:srgbClr val="B4B4B4"/>
          </p15:clr>
        </p15:guide>
        <p15:guide id="46" pos="6960">
          <p15:clr>
            <a:srgbClr val="B4B4B4"/>
          </p15:clr>
        </p15:guide>
        <p15:guide id="47" pos="7200">
          <p15:clr>
            <a:srgbClr val="B4B4B4"/>
          </p15:clr>
        </p15:guide>
        <p15:guide id="48" pos="7440">
          <p15:clr>
            <a:srgbClr val="B4B4B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Relationship Id="rId4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42.sv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12" Type="http://schemas.openxmlformats.org/officeDocument/2006/relationships/image" Target="../media/image41.png"/><Relationship Id="rId17" Type="http://schemas.openxmlformats.org/officeDocument/2006/relationships/image" Target="../media/image46.sv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45.png"/><Relationship Id="rId1" Type="http://schemas.openxmlformats.org/officeDocument/2006/relationships/tags" Target="../tags/tag52.xml"/><Relationship Id="rId6" Type="http://schemas.openxmlformats.org/officeDocument/2006/relationships/image" Target="../media/image9.png"/><Relationship Id="rId11" Type="http://schemas.openxmlformats.org/officeDocument/2006/relationships/image" Target="../media/image40.svg"/><Relationship Id="rId5" Type="http://schemas.openxmlformats.org/officeDocument/2006/relationships/image" Target="../media/image1.emf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35.bin"/><Relationship Id="rId9" Type="http://schemas.microsoft.com/office/2007/relationships/hdphoto" Target="../media/hdphoto2.wdp"/><Relationship Id="rId1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3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4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7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oleObject" Target="../embeddings/oleObject38.bin"/><Relationship Id="rId7" Type="http://schemas.openxmlformats.org/officeDocument/2006/relationships/image" Target="../media/image51.sv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55.xml"/><Relationship Id="rId6" Type="http://schemas.openxmlformats.org/officeDocument/2006/relationships/image" Target="../media/image50.png"/><Relationship Id="rId5" Type="http://schemas.openxmlformats.org/officeDocument/2006/relationships/image" Target="../media/image49.jpeg"/><Relationship Id="rId4" Type="http://schemas.openxmlformats.org/officeDocument/2006/relationships/image" Target="../media/image7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13" Type="http://schemas.openxmlformats.org/officeDocument/2006/relationships/image" Target="../media/image61.png"/><Relationship Id="rId3" Type="http://schemas.openxmlformats.org/officeDocument/2006/relationships/oleObject" Target="../embeddings/oleObject39.bin"/><Relationship Id="rId7" Type="http://schemas.openxmlformats.org/officeDocument/2006/relationships/image" Target="../media/image55.png"/><Relationship Id="rId12" Type="http://schemas.openxmlformats.org/officeDocument/2006/relationships/image" Target="../media/image60.sv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6.xml"/><Relationship Id="rId6" Type="http://schemas.openxmlformats.org/officeDocument/2006/relationships/image" Target="../media/image54.sv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0" Type="http://schemas.openxmlformats.org/officeDocument/2006/relationships/image" Target="../media/image58.svg"/><Relationship Id="rId4" Type="http://schemas.openxmlformats.org/officeDocument/2006/relationships/image" Target="../media/image7.emf"/><Relationship Id="rId9" Type="http://schemas.openxmlformats.org/officeDocument/2006/relationships/image" Target="../media/image57.png"/><Relationship Id="rId14" Type="http://schemas.openxmlformats.org/officeDocument/2006/relationships/image" Target="../media/image62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57.xml"/><Relationship Id="rId4" Type="http://schemas.openxmlformats.org/officeDocument/2006/relationships/image" Target="../media/image63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8.xml"/><Relationship Id="rId4" Type="http://schemas.openxmlformats.org/officeDocument/2006/relationships/image" Target="../media/image5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5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9.xml"/><Relationship Id="rId6" Type="http://schemas.openxmlformats.org/officeDocument/2006/relationships/image" Target="../media/image64.png"/><Relationship Id="rId11" Type="http://schemas.openxmlformats.org/officeDocument/2006/relationships/image" Target="../media/image69.svg"/><Relationship Id="rId5" Type="http://schemas.openxmlformats.org/officeDocument/2006/relationships/image" Target="../media/image1.emf"/><Relationship Id="rId10" Type="http://schemas.openxmlformats.org/officeDocument/2006/relationships/image" Target="../media/image68.png"/><Relationship Id="rId4" Type="http://schemas.openxmlformats.org/officeDocument/2006/relationships/oleObject" Target="../embeddings/oleObject42.bin"/><Relationship Id="rId9" Type="http://schemas.openxmlformats.org/officeDocument/2006/relationships/image" Target="../media/image67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70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0.xml"/><Relationship Id="rId6" Type="http://schemas.openxmlformats.org/officeDocument/2006/relationships/image" Target="../media/image64.png"/><Relationship Id="rId11" Type="http://schemas.openxmlformats.org/officeDocument/2006/relationships/image" Target="../media/image69.svg"/><Relationship Id="rId5" Type="http://schemas.openxmlformats.org/officeDocument/2006/relationships/image" Target="../media/image1.emf"/><Relationship Id="rId10" Type="http://schemas.openxmlformats.org/officeDocument/2006/relationships/image" Target="../media/image68.png"/><Relationship Id="rId4" Type="http://schemas.openxmlformats.org/officeDocument/2006/relationships/oleObject" Target="../embeddings/oleObject43.bin"/><Relationship Id="rId9" Type="http://schemas.openxmlformats.org/officeDocument/2006/relationships/image" Target="../media/image71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70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1.xml"/><Relationship Id="rId6" Type="http://schemas.openxmlformats.org/officeDocument/2006/relationships/image" Target="../media/image64.png"/><Relationship Id="rId11" Type="http://schemas.openxmlformats.org/officeDocument/2006/relationships/image" Target="../media/image69.svg"/><Relationship Id="rId5" Type="http://schemas.openxmlformats.org/officeDocument/2006/relationships/image" Target="../media/image1.emf"/><Relationship Id="rId10" Type="http://schemas.openxmlformats.org/officeDocument/2006/relationships/image" Target="../media/image68.png"/><Relationship Id="rId4" Type="http://schemas.openxmlformats.org/officeDocument/2006/relationships/oleObject" Target="../embeddings/oleObject44.bin"/><Relationship Id="rId9" Type="http://schemas.openxmlformats.org/officeDocument/2006/relationships/image" Target="../media/image71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70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2.xml"/><Relationship Id="rId6" Type="http://schemas.openxmlformats.org/officeDocument/2006/relationships/image" Target="../media/image64.png"/><Relationship Id="rId11" Type="http://schemas.openxmlformats.org/officeDocument/2006/relationships/image" Target="../media/image69.svg"/><Relationship Id="rId5" Type="http://schemas.openxmlformats.org/officeDocument/2006/relationships/image" Target="../media/image1.emf"/><Relationship Id="rId10" Type="http://schemas.openxmlformats.org/officeDocument/2006/relationships/image" Target="../media/image68.png"/><Relationship Id="rId4" Type="http://schemas.openxmlformats.org/officeDocument/2006/relationships/oleObject" Target="../embeddings/oleObject45.bin"/><Relationship Id="rId9" Type="http://schemas.openxmlformats.org/officeDocument/2006/relationships/image" Target="../media/image71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70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3.xml"/><Relationship Id="rId6" Type="http://schemas.openxmlformats.org/officeDocument/2006/relationships/image" Target="../media/image64.png"/><Relationship Id="rId11" Type="http://schemas.openxmlformats.org/officeDocument/2006/relationships/image" Target="../media/image69.svg"/><Relationship Id="rId5" Type="http://schemas.openxmlformats.org/officeDocument/2006/relationships/image" Target="../media/image1.emf"/><Relationship Id="rId10" Type="http://schemas.openxmlformats.org/officeDocument/2006/relationships/image" Target="../media/image68.png"/><Relationship Id="rId4" Type="http://schemas.openxmlformats.org/officeDocument/2006/relationships/oleObject" Target="../embeddings/oleObject46.bin"/><Relationship Id="rId9" Type="http://schemas.openxmlformats.org/officeDocument/2006/relationships/image" Target="../media/image71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70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4.xml"/><Relationship Id="rId6" Type="http://schemas.openxmlformats.org/officeDocument/2006/relationships/image" Target="../media/image64.png"/><Relationship Id="rId11" Type="http://schemas.openxmlformats.org/officeDocument/2006/relationships/image" Target="../media/image69.svg"/><Relationship Id="rId5" Type="http://schemas.openxmlformats.org/officeDocument/2006/relationships/image" Target="../media/image1.emf"/><Relationship Id="rId10" Type="http://schemas.openxmlformats.org/officeDocument/2006/relationships/image" Target="../media/image68.png"/><Relationship Id="rId4" Type="http://schemas.openxmlformats.org/officeDocument/2006/relationships/oleObject" Target="../embeddings/oleObject47.bin"/><Relationship Id="rId9" Type="http://schemas.openxmlformats.org/officeDocument/2006/relationships/image" Target="../media/image71.sv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1.svg"/><Relationship Id="rId7" Type="http://schemas.microsoft.com/office/2007/relationships/hdphoto" Target="../media/hdphoto1.wdp"/><Relationship Id="rId12" Type="http://schemas.microsoft.com/office/2007/relationships/hdphoto" Target="../media/hdphoto3.wdp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tags" Target="../tags/tag48.xml"/><Relationship Id="rId6" Type="http://schemas.openxmlformats.org/officeDocument/2006/relationships/image" Target="../media/image9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5" Type="http://schemas.openxmlformats.org/officeDocument/2006/relationships/image" Target="../media/image15.png"/><Relationship Id="rId10" Type="http://schemas.microsoft.com/office/2007/relationships/hdphoto" Target="../media/hdphoto2.wdp"/><Relationship Id="rId19" Type="http://schemas.openxmlformats.org/officeDocument/2006/relationships/image" Target="../media/image19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11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9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7.emf"/><Relationship Id="rId9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9.svg"/><Relationship Id="rId12" Type="http://schemas.openxmlformats.org/officeDocument/2006/relationships/image" Target="../media/image34.sv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38.svg"/><Relationship Id="rId1" Type="http://schemas.openxmlformats.org/officeDocument/2006/relationships/tags" Target="../tags/tag50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7.emf"/><Relationship Id="rId15" Type="http://schemas.openxmlformats.org/officeDocument/2006/relationships/image" Target="../media/image37.png"/><Relationship Id="rId10" Type="http://schemas.openxmlformats.org/officeDocument/2006/relationships/image" Target="../media/image32.sv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31.png"/><Relationship Id="rId14" Type="http://schemas.openxmlformats.org/officeDocument/2006/relationships/image" Target="../media/image3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51.xml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526B4E-A0E7-66A3-49F6-7D142DEC7F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73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26B4E-A0E7-66A3-49F6-7D142DEC7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1CF66C-D579-7418-D6D8-AC6E85CBB7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ZMU Academics - General Education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2D7BDE4-ADC0-3E1B-B875-E265600CCF6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IOC Concept and Program Stru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AA1BF5-62D0-1998-0534-0C8B310FE4B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b="1"/>
              <a:t>December 2025</a:t>
            </a:r>
          </a:p>
        </p:txBody>
      </p:sp>
    </p:spTree>
    <p:extLst>
      <p:ext uri="{BB962C8B-B14F-4D97-AF65-F5344CB8AC3E}">
        <p14:creationId xmlns:p14="http://schemas.microsoft.com/office/powerpoint/2010/main" val="5488377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1F9D5-22F2-634C-1E8A-C89B979A03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78FAB3D-6507-C6F4-DFC4-76A341A749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8FAB3D-6507-C6F4-DFC4-76A341A749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EA65C6FA-5611-29AE-69E9-2138533EFFB1}"/>
              </a:ext>
            </a:extLst>
          </p:cNvPr>
          <p:cNvSpPr/>
          <p:nvPr/>
        </p:nvSpPr>
        <p:spPr>
          <a:xfrm>
            <a:off x="484632" y="2467897"/>
            <a:ext cx="7452588" cy="296265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 w="19050">
            <a:solidFill>
              <a:schemeClr val="tx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6278444-995E-E6AA-7C65-841EA45C6562}"/>
              </a:ext>
            </a:extLst>
          </p:cNvPr>
          <p:cNvGrpSpPr/>
          <p:nvPr/>
        </p:nvGrpSpPr>
        <p:grpSpPr>
          <a:xfrm>
            <a:off x="381000" y="1427447"/>
            <a:ext cx="11369040" cy="696822"/>
            <a:chOff x="381000" y="1427446"/>
            <a:chExt cx="5645150" cy="538655"/>
          </a:xfrm>
        </p:grpSpPr>
        <p:pic>
          <p:nvPicPr>
            <p:cNvPr id="43" name="Picture 42" descr="A close-up of a building&#10;&#10;Description automatically generated with low confidence">
              <a:extLst>
                <a:ext uri="{FF2B5EF4-FFF2-40B4-BE49-F238E27FC236}">
                  <a16:creationId xmlns:a16="http://schemas.microsoft.com/office/drawing/2014/main" id="{63AD8B24-3CE9-E4B1-1FF3-DD820F178A58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5" t="59336" r="50573" b="34039"/>
            <a:stretch>
              <a:fillRect/>
            </a:stretch>
          </p:blipFill>
          <p:spPr>
            <a:xfrm>
              <a:off x="381000" y="1427446"/>
              <a:ext cx="5645150" cy="538655"/>
            </a:xfrm>
            <a:custGeom>
              <a:avLst/>
              <a:gdLst>
                <a:gd name="connsiteX0" fmla="*/ 43200 w 5645150"/>
                <a:gd name="connsiteY0" fmla="*/ 0 h 538655"/>
                <a:gd name="connsiteX1" fmla="*/ 5601950 w 5645150"/>
                <a:gd name="connsiteY1" fmla="*/ 0 h 538655"/>
                <a:gd name="connsiteX2" fmla="*/ 5645150 w 5645150"/>
                <a:gd name="connsiteY2" fmla="*/ 43200 h 538655"/>
                <a:gd name="connsiteX3" fmla="*/ 5645150 w 5645150"/>
                <a:gd name="connsiteY3" fmla="*/ 538655 h 538655"/>
                <a:gd name="connsiteX4" fmla="*/ 0 w 5645150"/>
                <a:gd name="connsiteY4" fmla="*/ 538655 h 538655"/>
                <a:gd name="connsiteX5" fmla="*/ 0 w 5645150"/>
                <a:gd name="connsiteY5" fmla="*/ 43200 h 538655"/>
                <a:gd name="connsiteX6" fmla="*/ 43200 w 5645150"/>
                <a:gd name="connsiteY6" fmla="*/ 0 h 5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45150" h="538655">
                  <a:moveTo>
                    <a:pt x="43200" y="0"/>
                  </a:moveTo>
                  <a:lnTo>
                    <a:pt x="5601950" y="0"/>
                  </a:lnTo>
                  <a:cubicBezTo>
                    <a:pt x="5625809" y="0"/>
                    <a:pt x="5645150" y="19341"/>
                    <a:pt x="5645150" y="43200"/>
                  </a:cubicBezTo>
                  <a:lnTo>
                    <a:pt x="5645150" y="538655"/>
                  </a:lnTo>
                  <a:lnTo>
                    <a:pt x="0" y="538655"/>
                  </a:lnTo>
                  <a:lnTo>
                    <a:pt x="0" y="43200"/>
                  </a:lnTo>
                  <a:cubicBezTo>
                    <a:pt x="0" y="19341"/>
                    <a:pt x="19341" y="0"/>
                    <a:pt x="43200" y="0"/>
                  </a:cubicBezTo>
                  <a:close/>
                </a:path>
              </a:pathLst>
            </a:custGeom>
          </p:spPr>
        </p:pic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152EC229-B3AD-5004-CDDC-640946D5697A}"/>
                </a:ext>
              </a:extLst>
            </p:cNvPr>
            <p:cNvSpPr/>
            <p:nvPr/>
          </p:nvSpPr>
          <p:spPr>
            <a:xfrm>
              <a:off x="381000" y="1427446"/>
              <a:ext cx="5645150" cy="538655"/>
            </a:xfrm>
            <a:prstGeom prst="round2SameRect">
              <a:avLst>
                <a:gd name="adj1" fmla="val 8020"/>
                <a:gd name="adj2" fmla="val 0"/>
              </a:avLst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ctr"/>
            <a:lstStyle/>
            <a:p>
              <a:pPr algn="ctr">
                <a:lnSpc>
                  <a:spcPct val="90000"/>
                </a:lnSpc>
              </a:pPr>
              <a:r>
                <a:rPr lang="en-US" b="1">
                  <a:solidFill>
                    <a:schemeClr val="bg1"/>
                  </a:solidFill>
                </a:rPr>
                <a:t>IOC GenEd Course Curriculum Components</a:t>
              </a:r>
              <a:endParaRPr lang="en-US" sz="1600">
                <a:solidFill>
                  <a:schemeClr val="bg1"/>
                </a:solidFill>
              </a:endParaRPr>
            </a:p>
          </p:txBody>
        </p:sp>
      </p:grpSp>
      <p:pic>
        <p:nvPicPr>
          <p:cNvPr id="1028" name="Picture 4" descr="Hourglass Kawaii Lineal icon">
            <a:extLst>
              <a:ext uri="{FF2B5EF4-FFF2-40B4-BE49-F238E27FC236}">
                <a16:creationId xmlns:a16="http://schemas.microsoft.com/office/drawing/2014/main" id="{A39C4444-F66C-0FC9-8B59-E6DFDB93B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1713" y="1508313"/>
            <a:ext cx="535090" cy="535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649CFC63-3349-0FDC-5E2B-6CF22F44DD3E}"/>
              </a:ext>
            </a:extLst>
          </p:cNvPr>
          <p:cNvSpPr txBox="1">
            <a:spLocks/>
          </p:cNvSpPr>
          <p:nvPr/>
        </p:nvSpPr>
        <p:spPr>
          <a:xfrm>
            <a:off x="389709" y="389713"/>
            <a:ext cx="906263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To ensure consistency and high-quality design, an overarching curriculum has been developed for each IOC GenEd cours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3E37C47-EB61-9443-33B1-AC1B330F10BB}"/>
              </a:ext>
            </a:extLst>
          </p:cNvPr>
          <p:cNvSpPr/>
          <p:nvPr/>
        </p:nvSpPr>
        <p:spPr>
          <a:xfrm>
            <a:off x="4650370" y="2200072"/>
            <a:ext cx="2830296" cy="2329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>
                <a:solidFill>
                  <a:schemeClr val="tx2"/>
                </a:solidFill>
              </a:rPr>
              <a:t>CURRICULUM COMPONENT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898D457-6097-C491-27EF-C31B07B449F9}"/>
              </a:ext>
            </a:extLst>
          </p:cNvPr>
          <p:cNvSpPr/>
          <p:nvPr/>
        </p:nvSpPr>
        <p:spPr>
          <a:xfrm>
            <a:off x="562227" y="2509906"/>
            <a:ext cx="3566428" cy="2592446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buClr>
                <a:srgbClr val="1E1E1E"/>
              </a:buClr>
              <a:buSzPct val="100000"/>
            </a:pPr>
            <a:r>
              <a:rPr lang="en-US" sz="1400" b="1" u="sng">
                <a:solidFill>
                  <a:schemeClr val="tx1"/>
                </a:solidFill>
              </a:rPr>
              <a:t>Learning Objectives</a:t>
            </a:r>
          </a:p>
          <a:p>
            <a:pPr algn="ctr">
              <a:buClr>
                <a:srgbClr val="1E1E1E"/>
              </a:buClr>
              <a:buSzPct val="100000"/>
            </a:pPr>
            <a:endParaRPr lang="en-US" sz="1400" b="1" u="sng">
              <a:solidFill>
                <a:schemeClr val="tx1"/>
              </a:solidFill>
            </a:endParaRPr>
          </a:p>
          <a:p>
            <a:pPr algn="ctr">
              <a:buClr>
                <a:srgbClr val="1E1E1E"/>
              </a:buClr>
              <a:buSzPct val="100000"/>
            </a:pPr>
            <a:r>
              <a:rPr lang="en-US" sz="1400" b="1">
                <a:solidFill>
                  <a:schemeClr val="tx1"/>
                </a:solidFill>
              </a:rPr>
              <a:t>Knowledge, skills and competencies </a:t>
            </a:r>
            <a:r>
              <a:rPr lang="en-US" sz="1400">
                <a:solidFill>
                  <a:schemeClr val="tx1"/>
                </a:solidFill>
              </a:rPr>
              <a:t>acquired by cadet during the course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0FAC2261-6259-457B-D1B9-B598D7E3D5F1}"/>
              </a:ext>
            </a:extLst>
          </p:cNvPr>
          <p:cNvSpPr/>
          <p:nvPr/>
        </p:nvSpPr>
        <p:spPr>
          <a:xfrm>
            <a:off x="4282304" y="2509906"/>
            <a:ext cx="3566428" cy="2592446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buClr>
                <a:srgbClr val="1E1E1E"/>
              </a:buClr>
              <a:buSzPct val="100000"/>
            </a:pPr>
            <a:r>
              <a:rPr lang="en-US" sz="1400" b="1" u="sng">
                <a:solidFill>
                  <a:schemeClr val="tx1"/>
                </a:solidFill>
              </a:rPr>
              <a:t>Target Outcomes</a:t>
            </a:r>
          </a:p>
          <a:p>
            <a:pPr algn="ctr">
              <a:buClr>
                <a:srgbClr val="1E1E1E"/>
              </a:buClr>
              <a:buSzPct val="100000"/>
            </a:pPr>
            <a:endParaRPr lang="en-US" sz="1400" b="1" u="sng">
              <a:solidFill>
                <a:schemeClr val="tx1"/>
              </a:solidFill>
            </a:endParaRPr>
          </a:p>
          <a:p>
            <a:pPr algn="ctr">
              <a:buClr>
                <a:srgbClr val="1E1E1E"/>
              </a:buClr>
              <a:buSzPct val="100000"/>
            </a:pPr>
            <a:r>
              <a:rPr lang="en-US" sz="1400" b="1">
                <a:solidFill>
                  <a:schemeClr val="tx1"/>
                </a:solidFill>
              </a:rPr>
              <a:t>Measurable results applied or performed </a:t>
            </a:r>
            <a:r>
              <a:rPr lang="en-US" sz="1400">
                <a:solidFill>
                  <a:schemeClr val="tx1"/>
                </a:solidFill>
              </a:rPr>
              <a:t>by a cadet after course completion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FF567BDF-FE2B-2E0A-870E-DD614B3FAB08}"/>
              </a:ext>
            </a:extLst>
          </p:cNvPr>
          <p:cNvSpPr/>
          <p:nvPr/>
        </p:nvSpPr>
        <p:spPr>
          <a:xfrm>
            <a:off x="8002382" y="2509906"/>
            <a:ext cx="3566428" cy="2592446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buClr>
                <a:srgbClr val="1E1E1E"/>
              </a:buClr>
              <a:buSzPct val="100000"/>
            </a:pPr>
            <a:r>
              <a:rPr lang="en-US" sz="1400" b="1" u="sng">
                <a:solidFill>
                  <a:schemeClr val="tx1"/>
                </a:solidFill>
              </a:rPr>
              <a:t>Suggested Reading List</a:t>
            </a:r>
          </a:p>
          <a:p>
            <a:pPr algn="ctr">
              <a:buClr>
                <a:srgbClr val="1E1E1E"/>
              </a:buClr>
              <a:buSzPct val="100000"/>
            </a:pPr>
            <a:br>
              <a:rPr lang="en-US" sz="1400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Academic resources </a:t>
            </a:r>
            <a:r>
              <a:rPr lang="en-US" sz="1400">
                <a:solidFill>
                  <a:schemeClr val="tx1"/>
                </a:solidFill>
              </a:rPr>
              <a:t>providing </a:t>
            </a:r>
            <a:r>
              <a:rPr lang="en-US" sz="1400" b="1">
                <a:solidFill>
                  <a:schemeClr val="tx1"/>
                </a:solidFill>
              </a:rPr>
              <a:t>foundational knowledge, </a:t>
            </a:r>
            <a:r>
              <a:rPr lang="en-US" sz="1400">
                <a:solidFill>
                  <a:schemeClr val="tx1"/>
                </a:solidFill>
              </a:rPr>
              <a:t>reinforcing course concep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5888873-09C8-6E35-A78F-00B69583F57A}"/>
              </a:ext>
            </a:extLst>
          </p:cNvPr>
          <p:cNvSpPr/>
          <p:nvPr/>
        </p:nvSpPr>
        <p:spPr>
          <a:xfrm>
            <a:off x="665688" y="4434840"/>
            <a:ext cx="3359506" cy="5669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200">
                <a:solidFill>
                  <a:schemeClr val="tx2"/>
                </a:solidFill>
              </a:rPr>
              <a:t>E.g., Develop </a:t>
            </a:r>
            <a:r>
              <a:rPr lang="en-US" sz="1200" b="1">
                <a:solidFill>
                  <a:schemeClr val="tx2"/>
                </a:solidFill>
              </a:rPr>
              <a:t>clear and concise writing skills </a:t>
            </a:r>
            <a:r>
              <a:rPr lang="en-US" sz="1200">
                <a:solidFill>
                  <a:schemeClr val="tx2"/>
                </a:solidFill>
              </a:rPr>
              <a:t>for military reports, briefs, and formal communication, …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7DDA47-8103-C33B-44CA-74F5F9552138}"/>
              </a:ext>
            </a:extLst>
          </p:cNvPr>
          <p:cNvSpPr/>
          <p:nvPr/>
        </p:nvSpPr>
        <p:spPr>
          <a:xfrm>
            <a:off x="4385765" y="4434840"/>
            <a:ext cx="3359506" cy="5669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200">
                <a:solidFill>
                  <a:schemeClr val="tx2"/>
                </a:solidFill>
              </a:rPr>
              <a:t>E.g., Cadets will write </a:t>
            </a:r>
            <a:r>
              <a:rPr lang="en-US" sz="1200" b="1">
                <a:solidFill>
                  <a:schemeClr val="tx2"/>
                </a:solidFill>
              </a:rPr>
              <a:t>persuasively from evidence</a:t>
            </a:r>
            <a:r>
              <a:rPr lang="en-US" sz="1200">
                <a:solidFill>
                  <a:schemeClr val="tx2"/>
                </a:solidFill>
              </a:rPr>
              <a:t> in a variety of formats, …</a:t>
            </a:r>
            <a:endParaRPr lang="en-US" sz="1200" b="1">
              <a:solidFill>
                <a:schemeClr val="tx2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4122D10-C707-9E5D-EB07-04856A3D3329}"/>
              </a:ext>
            </a:extLst>
          </p:cNvPr>
          <p:cNvSpPr/>
          <p:nvPr/>
        </p:nvSpPr>
        <p:spPr>
          <a:xfrm>
            <a:off x="8105843" y="4434840"/>
            <a:ext cx="3359506" cy="5669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200">
                <a:solidFill>
                  <a:schemeClr val="tx2"/>
                </a:solidFill>
              </a:rPr>
              <a:t>E.g., Kidder, Rushworth, Moral Courage, …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779D935-3426-1D51-8835-F56DFD63DEC5}"/>
              </a:ext>
            </a:extLst>
          </p:cNvPr>
          <p:cNvSpPr/>
          <p:nvPr/>
        </p:nvSpPr>
        <p:spPr>
          <a:xfrm>
            <a:off x="380999" y="5474711"/>
            <a:ext cx="11369039" cy="89283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r>
              <a:rPr lang="en-US" sz="1400" b="1">
                <a:solidFill>
                  <a:schemeClr val="bg2">
                    <a:lumMod val="75000"/>
                  </a:schemeClr>
                </a:solidFill>
              </a:rPr>
              <a:t>TEACHING METHODOLOGY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61241227-4422-A83B-13B1-5B3D13841FA2}"/>
              </a:ext>
            </a:extLst>
          </p:cNvPr>
          <p:cNvSpPr/>
          <p:nvPr/>
        </p:nvSpPr>
        <p:spPr>
          <a:xfrm>
            <a:off x="665687" y="5762907"/>
            <a:ext cx="10799662" cy="500733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buClr>
                <a:srgbClr val="1E1E1E"/>
              </a:buClr>
              <a:buSzPct val="100000"/>
            </a:pPr>
            <a:r>
              <a:rPr lang="en-US" sz="1400" b="1">
                <a:solidFill>
                  <a:schemeClr val="tx1"/>
                </a:solidFill>
              </a:rPr>
              <a:t>Teaching methodologies </a:t>
            </a:r>
            <a:r>
              <a:rPr lang="en-US" sz="1400">
                <a:solidFill>
                  <a:schemeClr val="tx1"/>
                </a:solidFill>
              </a:rPr>
              <a:t>to be defined by </a:t>
            </a:r>
            <a:r>
              <a:rPr lang="en-US" sz="1400" b="1">
                <a:solidFill>
                  <a:schemeClr val="tx1"/>
                </a:solidFill>
              </a:rPr>
              <a:t>respective faculty </a:t>
            </a:r>
            <a:r>
              <a:rPr lang="en-US" sz="1400">
                <a:solidFill>
                  <a:schemeClr val="tx1"/>
                </a:solidFill>
              </a:rPr>
              <a:t>for each Academic Partner delivering the cours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37EA8B8-3DDF-1ACA-B1D7-CE97B85BD63E}"/>
              </a:ext>
            </a:extLst>
          </p:cNvPr>
          <p:cNvSpPr/>
          <p:nvPr/>
        </p:nvSpPr>
        <p:spPr>
          <a:xfrm>
            <a:off x="4260340" y="5100610"/>
            <a:ext cx="3676880" cy="315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en-US" sz="1100" b="1" i="1">
                <a:solidFill>
                  <a:schemeClr val="tx2"/>
                </a:solidFill>
              </a:rPr>
              <a:t>Summary for each IOC GenEd course detailed below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7BAA5749-08B5-0371-EC30-E9746C4664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94018" y="5143500"/>
            <a:ext cx="236494" cy="236308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EC22FF28-69BA-3529-F860-5C0B5A4985A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109856" y="3906805"/>
            <a:ext cx="471170" cy="47117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EE5CE7BB-EC18-9D2D-FC21-04833C4E86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29933" y="3906805"/>
            <a:ext cx="471170" cy="47117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02405C23-EFFD-A0BB-3314-AEABC8590AC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550011" y="3906805"/>
            <a:ext cx="471170" cy="471170"/>
          </a:xfrm>
          <a:prstGeom prst="rect">
            <a:avLst/>
          </a:prstGeom>
        </p:spPr>
      </p:pic>
      <p:sp>
        <p:nvSpPr>
          <p:cNvPr id="53" name="Text Placeholder 27">
            <a:extLst>
              <a:ext uri="{FF2B5EF4-FFF2-40B4-BE49-F238E27FC236}">
                <a16:creationId xmlns:a16="http://schemas.microsoft.com/office/drawing/2014/main" id="{6C017E50-2D98-6ABB-0321-9F1402D8B117}"/>
              </a:ext>
            </a:extLst>
          </p:cNvPr>
          <p:cNvSpPr txBox="1">
            <a:spLocks/>
          </p:cNvSpPr>
          <p:nvPr/>
        </p:nvSpPr>
        <p:spPr>
          <a:xfrm>
            <a:off x="389709" y="6496471"/>
            <a:ext cx="5321345" cy="23728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lIns="0" tIns="0" rIns="0" bIns="0" anchor="b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Source: ZMU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3C09F37-6727-0040-FBFF-FEF7505B7C25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Curriculum Components</a:t>
            </a:r>
          </a:p>
        </p:txBody>
      </p:sp>
    </p:spTree>
    <p:extLst>
      <p:ext uri="{BB962C8B-B14F-4D97-AF65-F5344CB8AC3E}">
        <p14:creationId xmlns:p14="http://schemas.microsoft.com/office/powerpoint/2010/main" val="11663916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520ED10E-7637-7015-423A-D13DE39ED8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55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0ED10E-7637-7015-423A-D13DE39ED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22DA947-F7CB-25E4-6F9F-84FA89CA8409}"/>
              </a:ext>
            </a:extLst>
          </p:cNvPr>
          <p:cNvCxnSpPr>
            <a:cxnSpLocks/>
          </p:cNvCxnSpPr>
          <p:nvPr/>
        </p:nvCxnSpPr>
        <p:spPr>
          <a:xfrm>
            <a:off x="8156443" y="1245765"/>
            <a:ext cx="0" cy="508836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73D72BF-A0DF-A1DD-6DE5-84A35037AB34}"/>
              </a:ext>
            </a:extLst>
          </p:cNvPr>
          <p:cNvCxnSpPr>
            <a:cxnSpLocks/>
          </p:cNvCxnSpPr>
          <p:nvPr/>
        </p:nvCxnSpPr>
        <p:spPr>
          <a:xfrm>
            <a:off x="4051168" y="1245765"/>
            <a:ext cx="0" cy="508836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3DE9424-1226-2F90-01A2-BA6DEECDCB08}"/>
              </a:ext>
            </a:extLst>
          </p:cNvPr>
          <p:cNvSpPr/>
          <p:nvPr/>
        </p:nvSpPr>
        <p:spPr>
          <a:xfrm>
            <a:off x="55338" y="2281365"/>
            <a:ext cx="3895909" cy="1901115"/>
          </a:xfrm>
          <a:prstGeom prst="rect">
            <a:avLst/>
          </a:prstGeom>
          <a:noFill/>
          <a:ln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velop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dership focused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undational and complex military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riting skill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rgbClr val="1F1F1F"/>
                </a:solidFill>
                <a:latin typeface="Arial" panose="020B0604020202020204"/>
              </a:rPr>
              <a:t>Strengthen </a:t>
            </a:r>
            <a:r>
              <a:rPr lang="en-US" sz="1100" b="1">
                <a:solidFill>
                  <a:srgbClr val="1F1F1F"/>
                </a:solidFill>
                <a:latin typeface="Arial" panose="020B0604020202020204"/>
              </a:rPr>
              <a:t>early analytical reading </a:t>
            </a:r>
            <a:r>
              <a:rPr lang="en-US" sz="1100">
                <a:solidFill>
                  <a:srgbClr val="1F1F1F"/>
                </a:solidFill>
                <a:latin typeface="Arial" panose="020B0604020202020204"/>
              </a:rPr>
              <a:t>for leadership engagement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derstand 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ademic integrity 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285C6C-7512-6C00-DD0E-ED3FDF6E05F1}"/>
              </a:ext>
            </a:extLst>
          </p:cNvPr>
          <p:cNvSpPr/>
          <p:nvPr/>
        </p:nvSpPr>
        <p:spPr>
          <a:xfrm>
            <a:off x="55338" y="1245765"/>
            <a:ext cx="3895909" cy="54902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27432" rIns="27432" bIns="27432" rtlCol="0" anchor="ctr" anchorCtr="0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glish 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59C572-A4B5-90A8-771A-832184F4C123}"/>
              </a:ext>
            </a:extLst>
          </p:cNvPr>
          <p:cNvSpPr/>
          <p:nvPr/>
        </p:nvSpPr>
        <p:spPr>
          <a:xfrm>
            <a:off x="4144297" y="1245765"/>
            <a:ext cx="3895909" cy="549029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27432" rIns="27432" bIns="27432" rtlCol="0" anchor="ctr" anchorCtr="0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glish 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9AC0B63-6139-A5D1-1677-ED11C0118AFB}"/>
              </a:ext>
            </a:extLst>
          </p:cNvPr>
          <p:cNvSpPr/>
          <p:nvPr/>
        </p:nvSpPr>
        <p:spPr>
          <a:xfrm>
            <a:off x="8233256" y="1245765"/>
            <a:ext cx="3895909" cy="54902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27432" rIns="27432" bIns="27432" rtlCol="0" anchor="ctr" anchorCtr="0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irati Stud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88FE6B-D456-7986-29F8-8205018C4725}"/>
              </a:ext>
            </a:extLst>
          </p:cNvPr>
          <p:cNvSpPr/>
          <p:nvPr/>
        </p:nvSpPr>
        <p:spPr>
          <a:xfrm>
            <a:off x="-3747" y="1885647"/>
            <a:ext cx="12191997" cy="33776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27432" rIns="27432" bIns="27432" rtlCol="0" anchor="ctr"/>
          <a:lstStyle/>
          <a:p>
            <a:pPr marL="0" marR="0" lvl="0" indent="0" algn="ctr" defTabSz="914400" rtl="0" eaLnBrk="1" fontAlgn="b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earning Objectiv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9503BE8-D759-248D-8271-BD7DEFB279A4}"/>
              </a:ext>
            </a:extLst>
          </p:cNvPr>
          <p:cNvSpPr/>
          <p:nvPr/>
        </p:nvSpPr>
        <p:spPr>
          <a:xfrm>
            <a:off x="-3747" y="4240430"/>
            <a:ext cx="12191997" cy="33776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27432" rIns="27432" bIns="27432" rtlCol="0" anchor="ctr"/>
          <a:lstStyle/>
          <a:p>
            <a:pPr marL="0" marR="0" lvl="0" indent="0" algn="ctr" defTabSz="914400" rtl="0" eaLnBrk="1" fontAlgn="b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earning Outcom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8526372-834F-3AB0-175F-96D810551F6D}"/>
              </a:ext>
            </a:extLst>
          </p:cNvPr>
          <p:cNvSpPr txBox="1"/>
          <p:nvPr/>
        </p:nvSpPr>
        <p:spPr>
          <a:xfrm>
            <a:off x="2758440" y="6528816"/>
            <a:ext cx="6675120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i="1"/>
              <a:t>Detailed curriculum, including reading lists, are in appendix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54D5A70-4862-727A-9106-C794F6C95DDB}"/>
              </a:ext>
            </a:extLst>
          </p:cNvPr>
          <p:cNvSpPr/>
          <p:nvPr/>
        </p:nvSpPr>
        <p:spPr>
          <a:xfrm>
            <a:off x="55338" y="4636148"/>
            <a:ext cx="3895909" cy="1697977"/>
          </a:xfrm>
          <a:prstGeom prst="rect">
            <a:avLst/>
          </a:prstGeom>
          <a:noFill/>
          <a:ln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Express </a:t>
            </a:r>
            <a:r>
              <a:rPr lang="en-US" sz="1100" b="1">
                <a:solidFill>
                  <a:schemeClr val="tx1"/>
                </a:solidFill>
              </a:rPr>
              <a:t>leadership ideas </a:t>
            </a:r>
            <a:r>
              <a:rPr lang="en-US" sz="1100">
                <a:solidFill>
                  <a:schemeClr val="tx1"/>
                </a:solidFill>
              </a:rPr>
              <a:t>with clarity and analysi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Conduct </a:t>
            </a:r>
            <a:r>
              <a:rPr lang="en-US" sz="1100" b="1">
                <a:solidFill>
                  <a:schemeClr val="tx1"/>
                </a:solidFill>
              </a:rPr>
              <a:t>analysis of leadership media and text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Accurately </a:t>
            </a:r>
            <a:r>
              <a:rPr lang="en-US" sz="1100" b="1">
                <a:solidFill>
                  <a:schemeClr val="tx1"/>
                </a:solidFill>
              </a:rPr>
              <a:t>summarize and paraphrase sources </a:t>
            </a:r>
            <a:r>
              <a:rPr lang="en-US" sz="1100">
                <a:solidFill>
                  <a:schemeClr val="tx1"/>
                </a:solidFill>
              </a:rPr>
              <a:t>using basic evaluation skill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68FD3E-A534-C609-02E1-121A54B838BD}"/>
              </a:ext>
            </a:extLst>
          </p:cNvPr>
          <p:cNvSpPr/>
          <p:nvPr/>
        </p:nvSpPr>
        <p:spPr>
          <a:xfrm>
            <a:off x="4144297" y="2281365"/>
            <a:ext cx="3895909" cy="19011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Build clear, </a:t>
            </a:r>
            <a:r>
              <a:rPr lang="en-US" sz="1100" b="1">
                <a:solidFill>
                  <a:schemeClr val="tx1"/>
                </a:solidFill>
              </a:rPr>
              <a:t>evidence-based arguments</a:t>
            </a:r>
            <a:r>
              <a:rPr lang="en-US" sz="1100">
                <a:solidFill>
                  <a:schemeClr val="tx1"/>
                </a:solidFill>
              </a:rPr>
              <a:t> in written communication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Adapt </a:t>
            </a:r>
            <a:r>
              <a:rPr lang="en-US" sz="1100" b="1">
                <a:solidFill>
                  <a:schemeClr val="tx1"/>
                </a:solidFill>
              </a:rPr>
              <a:t>writing for purpose and audience </a:t>
            </a:r>
            <a:r>
              <a:rPr lang="en-US" sz="1100">
                <a:solidFill>
                  <a:schemeClr val="tx1"/>
                </a:solidFill>
              </a:rPr>
              <a:t>in leadership and military context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Interpret complex texts using </a:t>
            </a:r>
            <a:r>
              <a:rPr lang="en-US" sz="1100" b="1">
                <a:solidFill>
                  <a:schemeClr val="tx1"/>
                </a:solidFill>
              </a:rPr>
              <a:t>strong analytical reading skill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Apply </a:t>
            </a:r>
            <a:r>
              <a:rPr lang="en-US" sz="1100" b="1">
                <a:solidFill>
                  <a:schemeClr val="tx1"/>
                </a:solidFill>
              </a:rPr>
              <a:t>basic research </a:t>
            </a:r>
            <a:r>
              <a:rPr lang="en-US" sz="1100">
                <a:solidFill>
                  <a:schemeClr val="tx1"/>
                </a:solidFill>
              </a:rPr>
              <a:t>and </a:t>
            </a:r>
            <a:r>
              <a:rPr lang="en-US" sz="1100" b="1">
                <a:solidFill>
                  <a:schemeClr val="tx1"/>
                </a:solidFill>
              </a:rPr>
              <a:t>integrate sources </a:t>
            </a:r>
            <a:r>
              <a:rPr lang="en-US" sz="1100">
                <a:solidFill>
                  <a:schemeClr val="tx1"/>
                </a:solidFill>
              </a:rPr>
              <a:t>effectively in writing task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6CB10E6-E803-6A17-F6B3-51987F68351F}"/>
              </a:ext>
            </a:extLst>
          </p:cNvPr>
          <p:cNvSpPr/>
          <p:nvPr/>
        </p:nvSpPr>
        <p:spPr>
          <a:xfrm>
            <a:off x="4144297" y="4636148"/>
            <a:ext cx="3895909" cy="169797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Produce </a:t>
            </a:r>
            <a:r>
              <a:rPr lang="en-US" sz="1100" b="1">
                <a:solidFill>
                  <a:schemeClr val="tx1"/>
                </a:solidFill>
              </a:rPr>
              <a:t>structured analytical essays </a:t>
            </a:r>
            <a:r>
              <a:rPr lang="en-US" sz="1100">
                <a:solidFill>
                  <a:schemeClr val="tx1"/>
                </a:solidFill>
              </a:rPr>
              <a:t>using clear claims, reasoning, and evidence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Critically </a:t>
            </a:r>
            <a:r>
              <a:rPr lang="en-US" sz="1100" b="1">
                <a:solidFill>
                  <a:schemeClr val="tx1"/>
                </a:solidFill>
              </a:rPr>
              <a:t>assess sources </a:t>
            </a:r>
            <a:r>
              <a:rPr lang="en-US" sz="1100">
                <a:solidFill>
                  <a:schemeClr val="tx1"/>
                </a:solidFill>
              </a:rPr>
              <a:t>and </a:t>
            </a:r>
            <a:r>
              <a:rPr lang="en-US" sz="1100" b="1">
                <a:solidFill>
                  <a:schemeClr val="tx1"/>
                </a:solidFill>
              </a:rPr>
              <a:t>address assumptions </a:t>
            </a:r>
            <a:r>
              <a:rPr lang="en-US" sz="1100">
                <a:solidFill>
                  <a:schemeClr val="tx1"/>
                </a:solidFill>
              </a:rPr>
              <a:t>and counterarguments in writing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Apply </a:t>
            </a:r>
            <a:r>
              <a:rPr lang="en-US" sz="1100" b="1">
                <a:solidFill>
                  <a:schemeClr val="tx1"/>
                </a:solidFill>
              </a:rPr>
              <a:t>persuasive and ethical communication </a:t>
            </a:r>
            <a:r>
              <a:rPr lang="en-US" sz="1100">
                <a:solidFill>
                  <a:schemeClr val="tx1"/>
                </a:solidFill>
              </a:rPr>
              <a:t>in military writings, including leadership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5F476A9-41D1-23EB-401E-1EB5B353F2E1}"/>
              </a:ext>
            </a:extLst>
          </p:cNvPr>
          <p:cNvSpPr/>
          <p:nvPr/>
        </p:nvSpPr>
        <p:spPr>
          <a:xfrm>
            <a:off x="8233256" y="2281365"/>
            <a:ext cx="3895909" cy="19011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Build </a:t>
            </a:r>
            <a:r>
              <a:rPr lang="en-US" sz="1100" b="1">
                <a:solidFill>
                  <a:schemeClr val="tx1"/>
                </a:solidFill>
              </a:rPr>
              <a:t>foundational understanding of UAE history </a:t>
            </a:r>
            <a:r>
              <a:rPr lang="en-US" sz="1100">
                <a:solidFill>
                  <a:schemeClr val="tx1"/>
                </a:solidFill>
              </a:rPr>
              <a:t>and </a:t>
            </a:r>
            <a:r>
              <a:rPr lang="en-US" sz="1100" b="1">
                <a:solidFill>
                  <a:schemeClr val="tx1"/>
                </a:solidFill>
              </a:rPr>
              <a:t>compare diverse representations </a:t>
            </a:r>
            <a:r>
              <a:rPr lang="en-US" sz="1100">
                <a:solidFill>
                  <a:schemeClr val="tx1"/>
                </a:solidFill>
              </a:rPr>
              <a:t>across source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Connect </a:t>
            </a:r>
            <a:r>
              <a:rPr lang="en-US" sz="1100" b="1">
                <a:solidFill>
                  <a:schemeClr val="tx1"/>
                </a:solidFill>
              </a:rPr>
              <a:t>Emirati identity and heritage </a:t>
            </a:r>
            <a:r>
              <a:rPr lang="en-US" sz="1100">
                <a:solidFill>
                  <a:schemeClr val="tx1"/>
                </a:solidFill>
              </a:rPr>
              <a:t>to responsibilities of future officer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Explore how identity and values shape </a:t>
            </a:r>
            <a:r>
              <a:rPr lang="en-US" sz="1100" b="1">
                <a:solidFill>
                  <a:schemeClr val="tx1"/>
                </a:solidFill>
              </a:rPr>
              <a:t>early leadership instinct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7219DD8-145C-0A2D-F4B3-702F01A01375}"/>
              </a:ext>
            </a:extLst>
          </p:cNvPr>
          <p:cNvSpPr/>
          <p:nvPr/>
        </p:nvSpPr>
        <p:spPr>
          <a:xfrm>
            <a:off x="8233256" y="4636148"/>
            <a:ext cx="3895909" cy="1697977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Explain the </a:t>
            </a:r>
            <a:r>
              <a:rPr lang="en-US" sz="1100" b="1">
                <a:solidFill>
                  <a:schemeClr val="tx1"/>
                </a:solidFill>
              </a:rPr>
              <a:t>evolution of UAE development, governance, and social systems</a:t>
            </a:r>
            <a:r>
              <a:rPr lang="en-US" sz="1100">
                <a:solidFill>
                  <a:schemeClr val="tx1"/>
                </a:solidFill>
              </a:rPr>
              <a:t>, through differing source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Describe how </a:t>
            </a:r>
            <a:r>
              <a:rPr lang="en-US" sz="1100" b="1">
                <a:solidFill>
                  <a:schemeClr val="tx1"/>
                </a:solidFill>
              </a:rPr>
              <a:t>heritage and identity influence cadet attitudes </a:t>
            </a:r>
            <a:r>
              <a:rPr lang="en-US" sz="1100">
                <a:solidFill>
                  <a:schemeClr val="tx1"/>
                </a:solidFill>
              </a:rPr>
              <a:t>toward service and teamwork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Synthesize course insights through </a:t>
            </a:r>
            <a:r>
              <a:rPr lang="en-US" sz="1100" b="1">
                <a:solidFill>
                  <a:schemeClr val="tx1"/>
                </a:solidFill>
                <a:latin typeface="Arial" panose="020B0604020202020204"/>
              </a:rPr>
              <a:t>ZMU leadership development system “My Emirati Leadership Doctrine” 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2B9C6430-A40F-B8E2-F37F-A3B3342332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74868" y="6507611"/>
            <a:ext cx="236494" cy="236308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C548E12B-09D9-8097-4DAA-6D71034D4F43}"/>
              </a:ext>
            </a:extLst>
          </p:cNvPr>
          <p:cNvSpPr txBox="1">
            <a:spLocks/>
          </p:cNvSpPr>
          <p:nvPr/>
        </p:nvSpPr>
        <p:spPr>
          <a:xfrm>
            <a:off x="389709" y="389713"/>
            <a:ext cx="906263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Learning Objectives and Learning Outcomes are modified for a </a:t>
            </a:r>
            <a:r>
              <a:rPr lang="en-US" err="1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defence</a:t>
            </a:r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 context ensuring ZMU GenEd supports cadets’ military education (1/2)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F8D4087-B57B-D2A2-780F-42672ADCEABE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Curriculum Summar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19319F3-4808-BFF8-2B31-F28E08AC67BE}"/>
              </a:ext>
            </a:extLst>
          </p:cNvPr>
          <p:cNvSpPr/>
          <p:nvPr/>
        </p:nvSpPr>
        <p:spPr>
          <a:xfrm>
            <a:off x="9525614" y="995462"/>
            <a:ext cx="2286000" cy="152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n-Exhaustive</a:t>
            </a:r>
          </a:p>
        </p:txBody>
      </p:sp>
      <p:sp>
        <p:nvSpPr>
          <p:cNvPr id="6" name="Text Placeholder 27">
            <a:extLst>
              <a:ext uri="{FF2B5EF4-FFF2-40B4-BE49-F238E27FC236}">
                <a16:creationId xmlns:a16="http://schemas.microsoft.com/office/drawing/2014/main" id="{6BB2BF56-2B29-2977-D827-5118A9EC3DE3}"/>
              </a:ext>
            </a:extLst>
          </p:cNvPr>
          <p:cNvSpPr txBox="1">
            <a:spLocks/>
          </p:cNvSpPr>
          <p:nvPr/>
        </p:nvSpPr>
        <p:spPr>
          <a:xfrm>
            <a:off x="389709" y="6496471"/>
            <a:ext cx="5321345" cy="23728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lIns="0" tIns="0" rIns="0" bIns="0" anchor="b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Source: ZMU</a:t>
            </a:r>
          </a:p>
        </p:txBody>
      </p:sp>
    </p:spTree>
    <p:extLst>
      <p:ext uri="{BB962C8B-B14F-4D97-AF65-F5344CB8AC3E}">
        <p14:creationId xmlns:p14="http://schemas.microsoft.com/office/powerpoint/2010/main" val="1453951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6082AD-FEFF-9381-9022-414602ECA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DE05025D-D1B8-F902-D902-DB83C51F2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7757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05025D-D1B8-F902-D902-DB83C51F2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39CBC4F-53B3-1A89-D3E9-0C3893DC1154}"/>
              </a:ext>
            </a:extLst>
          </p:cNvPr>
          <p:cNvSpPr txBox="1">
            <a:spLocks/>
          </p:cNvSpPr>
          <p:nvPr/>
        </p:nvSpPr>
        <p:spPr>
          <a:xfrm>
            <a:off x="389709" y="389713"/>
            <a:ext cx="906263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Learning Objectives and Learning Outcomes are modified for a defence context ensuring ZMU GenEd supports cadets’ military education (2/2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C05DA4-7E0D-16D8-BDB8-F28097F74A21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Curriculum Summary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DAB75E2-2412-4CDD-74D7-E55C0DB0B9C5}"/>
              </a:ext>
            </a:extLst>
          </p:cNvPr>
          <p:cNvCxnSpPr>
            <a:cxnSpLocks/>
          </p:cNvCxnSpPr>
          <p:nvPr/>
        </p:nvCxnSpPr>
        <p:spPr>
          <a:xfrm>
            <a:off x="8156443" y="1245765"/>
            <a:ext cx="0" cy="508836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D80C25C-1905-EAAB-3EEA-DC077657B559}"/>
              </a:ext>
            </a:extLst>
          </p:cNvPr>
          <p:cNvCxnSpPr>
            <a:cxnSpLocks/>
          </p:cNvCxnSpPr>
          <p:nvPr/>
        </p:nvCxnSpPr>
        <p:spPr>
          <a:xfrm>
            <a:off x="4051168" y="1245765"/>
            <a:ext cx="0" cy="508836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2B8604F-5312-FE9A-525E-525D1F1118E2}"/>
              </a:ext>
            </a:extLst>
          </p:cNvPr>
          <p:cNvGrpSpPr/>
          <p:nvPr/>
        </p:nvGrpSpPr>
        <p:grpSpPr>
          <a:xfrm>
            <a:off x="50800" y="1244600"/>
            <a:ext cx="12073827" cy="549029"/>
            <a:chOff x="55338" y="1654858"/>
            <a:chExt cx="12073827" cy="39339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48D3DB0-3C97-7900-F265-6A96CE7E6AAF}"/>
                </a:ext>
              </a:extLst>
            </p:cNvPr>
            <p:cNvSpPr/>
            <p:nvPr/>
          </p:nvSpPr>
          <p:spPr>
            <a:xfrm>
              <a:off x="55338" y="1654858"/>
              <a:ext cx="3895909" cy="393398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27432" rIns="27432" bIns="27432"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rgbClr val="1F1F1F"/>
                </a:buClr>
                <a:buSzPct val="100000"/>
                <a:defRPr/>
              </a:pPr>
              <a:r>
                <a:rPr lang="en-US" sz="1600" b="1">
                  <a:solidFill>
                    <a:schemeClr val="tx1"/>
                  </a:solidFill>
                </a:rPr>
                <a:t>Innovation and Entrepreneurship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152A197-F503-ADD8-E33F-3D0F02B4B908}"/>
                </a:ext>
              </a:extLst>
            </p:cNvPr>
            <p:cNvSpPr/>
            <p:nvPr/>
          </p:nvSpPr>
          <p:spPr>
            <a:xfrm>
              <a:off x="4144298" y="1654858"/>
              <a:ext cx="3895909" cy="393398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27432" rIns="27432" bIns="27432" rtlCol="0" anchor="ctr" anchorCtr="0"/>
            <a:lstStyle/>
            <a:p>
              <a:pPr marR="0" lvl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F1F1F"/>
                </a:buClr>
                <a:buSzPct val="100000"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F1F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sychology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3AE0C0F-6ED7-A6EC-CA7E-95940279A2D0}"/>
                </a:ext>
              </a:extLst>
            </p:cNvPr>
            <p:cNvSpPr/>
            <p:nvPr/>
          </p:nvSpPr>
          <p:spPr>
            <a:xfrm>
              <a:off x="8233256" y="1654858"/>
              <a:ext cx="3895909" cy="39339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27432" rIns="27432" bIns="27432" rtlCol="0" anchor="ctr" anchorCtr="0"/>
            <a:lstStyle/>
            <a:p>
              <a:pPr marR="0" lvl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F1F1F"/>
                </a:buClr>
                <a:buSzPct val="100000"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F1F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hilosophy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CAB91D33-607F-6C70-D50F-FC29E6055305}"/>
              </a:ext>
            </a:extLst>
          </p:cNvPr>
          <p:cNvSpPr txBox="1"/>
          <p:nvPr/>
        </p:nvSpPr>
        <p:spPr>
          <a:xfrm>
            <a:off x="2758440" y="6528816"/>
            <a:ext cx="6675120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i="1"/>
              <a:t>Detailed curriculum, including reading lists, are in appendix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EB01728-221C-7722-EC04-5B7CC6F1AC8D}"/>
              </a:ext>
            </a:extLst>
          </p:cNvPr>
          <p:cNvSpPr/>
          <p:nvPr/>
        </p:nvSpPr>
        <p:spPr>
          <a:xfrm>
            <a:off x="55338" y="2281365"/>
            <a:ext cx="3895909" cy="1901115"/>
          </a:xfrm>
          <a:prstGeom prst="rect">
            <a:avLst/>
          </a:prstGeom>
          <a:noFill/>
          <a:ln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 b="1">
                <a:solidFill>
                  <a:schemeClr val="tx1"/>
                </a:solidFill>
              </a:rPr>
              <a:t>Introduce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b="1">
                <a:solidFill>
                  <a:schemeClr val="tx1"/>
                </a:solidFill>
              </a:rPr>
              <a:t>design thinking </a:t>
            </a:r>
            <a:r>
              <a:rPr lang="en-US" sz="1100">
                <a:solidFill>
                  <a:schemeClr val="tx1"/>
                </a:solidFill>
              </a:rPr>
              <a:t>to help cadets define service or </a:t>
            </a:r>
            <a:r>
              <a:rPr lang="en-US" sz="1100" err="1">
                <a:solidFill>
                  <a:schemeClr val="tx1"/>
                </a:solidFill>
              </a:rPr>
              <a:t>defence</a:t>
            </a:r>
            <a:r>
              <a:rPr lang="en-US" sz="1100">
                <a:solidFill>
                  <a:schemeClr val="tx1"/>
                </a:solidFill>
              </a:rPr>
              <a:t> problems clearly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Strengthen skills in </a:t>
            </a:r>
            <a:r>
              <a:rPr lang="en-US" sz="1100" b="1">
                <a:solidFill>
                  <a:schemeClr val="tx1"/>
                </a:solidFill>
              </a:rPr>
              <a:t>problem definition, idea generation, and solution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F1F1F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Encourage </a:t>
            </a:r>
            <a:r>
              <a:rPr lang="en-US" sz="1100" b="1">
                <a:solidFill>
                  <a:schemeClr val="tx1"/>
                </a:solidFill>
              </a:rPr>
              <a:t>initiative, adaptability, and experimentation </a:t>
            </a:r>
            <a:r>
              <a:rPr lang="en-US" sz="1100">
                <a:solidFill>
                  <a:schemeClr val="tx1"/>
                </a:solidFill>
              </a:rPr>
              <a:t>with a </a:t>
            </a:r>
            <a:r>
              <a:rPr lang="en-US" sz="1100" b="1">
                <a:solidFill>
                  <a:schemeClr val="tx1"/>
                </a:solidFill>
              </a:rPr>
              <a:t>leadership mindse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7E43325-302A-0213-CE74-9C340B4656FD}"/>
              </a:ext>
            </a:extLst>
          </p:cNvPr>
          <p:cNvSpPr/>
          <p:nvPr/>
        </p:nvSpPr>
        <p:spPr>
          <a:xfrm>
            <a:off x="-3747" y="1885647"/>
            <a:ext cx="12191997" cy="33776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27432" rIns="27432" bIns="27432" rtlCol="0" anchor="ctr"/>
          <a:lstStyle/>
          <a:p>
            <a:pPr marL="0" marR="0" lvl="0" indent="0" algn="ctr" defTabSz="914400" rtl="0" eaLnBrk="1" fontAlgn="b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earning Objective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8456B82-FE75-41AF-E28C-16B85974EEE1}"/>
              </a:ext>
            </a:extLst>
          </p:cNvPr>
          <p:cNvSpPr/>
          <p:nvPr/>
        </p:nvSpPr>
        <p:spPr>
          <a:xfrm>
            <a:off x="-3747" y="4240430"/>
            <a:ext cx="12191997" cy="33776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27432" rIns="27432" bIns="27432" rtlCol="0" anchor="ctr"/>
          <a:lstStyle/>
          <a:p>
            <a:pPr marL="0" marR="0" lvl="0" indent="0" algn="ctr" defTabSz="914400" rtl="0" eaLnBrk="1" fontAlgn="b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earning Outcome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66F6CD9-BFC8-481C-8FB8-E5BDF9677015}"/>
              </a:ext>
            </a:extLst>
          </p:cNvPr>
          <p:cNvSpPr/>
          <p:nvPr/>
        </p:nvSpPr>
        <p:spPr>
          <a:xfrm>
            <a:off x="55338" y="4636149"/>
            <a:ext cx="3895909" cy="1754924"/>
          </a:xfrm>
          <a:prstGeom prst="rect">
            <a:avLst/>
          </a:prstGeom>
          <a:noFill/>
          <a:ln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 b="1">
                <a:solidFill>
                  <a:schemeClr val="tx1"/>
                </a:solidFill>
              </a:rPr>
              <a:t>Apply design-thinking process to identify needs </a:t>
            </a:r>
            <a:r>
              <a:rPr lang="en-US" sz="1100">
                <a:solidFill>
                  <a:schemeClr val="tx1"/>
                </a:solidFill>
              </a:rPr>
              <a:t>and generate solutions using feasibility and impact criteria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 b="1">
                <a:solidFill>
                  <a:schemeClr val="tx1"/>
                </a:solidFill>
              </a:rPr>
              <a:t>Demonstrate teamwork, communication</a:t>
            </a:r>
            <a:r>
              <a:rPr lang="en-US" sz="1100">
                <a:solidFill>
                  <a:schemeClr val="tx1"/>
                </a:solidFill>
              </a:rPr>
              <a:t>, and project-planning skill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Connect a real challenge to a proposed solution through </a:t>
            </a:r>
            <a:r>
              <a:rPr lang="en-US" sz="1100" b="1">
                <a:solidFill>
                  <a:schemeClr val="tx1"/>
                </a:solidFill>
              </a:rPr>
              <a:t>ZMU leadership development system</a:t>
            </a:r>
            <a:r>
              <a:rPr lang="en-US" sz="1100">
                <a:solidFill>
                  <a:schemeClr val="tx1"/>
                </a:solidFill>
              </a:rPr>
              <a:t> </a:t>
            </a:r>
            <a:r>
              <a:rPr lang="en-US" sz="1100" b="1">
                <a:solidFill>
                  <a:schemeClr val="tx1"/>
                </a:solidFill>
              </a:rPr>
              <a:t>“Innovation for Service Project”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3D54B0A-C802-10BA-DC39-984B80B79E5E}"/>
              </a:ext>
            </a:extLst>
          </p:cNvPr>
          <p:cNvSpPr/>
          <p:nvPr/>
        </p:nvSpPr>
        <p:spPr>
          <a:xfrm>
            <a:off x="4144297" y="2281365"/>
            <a:ext cx="3895909" cy="19011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Introduce core concepts in </a:t>
            </a:r>
            <a:r>
              <a:rPr lang="en-US" sz="1100" b="1">
                <a:solidFill>
                  <a:schemeClr val="tx1"/>
                </a:solidFill>
              </a:rPr>
              <a:t>cognitive, social, and developmental psychology</a:t>
            </a:r>
            <a:r>
              <a:rPr lang="en-US" sz="1100">
                <a:solidFill>
                  <a:schemeClr val="tx1"/>
                </a:solidFill>
              </a:rPr>
              <a:t> and link them to </a:t>
            </a:r>
            <a:r>
              <a:rPr lang="en-US" sz="1100" b="1">
                <a:solidFill>
                  <a:schemeClr val="tx1"/>
                </a:solidFill>
              </a:rPr>
              <a:t>real cadet experience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Strengthen cadets’ understanding of </a:t>
            </a:r>
            <a:r>
              <a:rPr lang="en-US" sz="1100" b="1">
                <a:solidFill>
                  <a:schemeClr val="tx1"/>
                </a:solidFill>
              </a:rPr>
              <a:t>bias, motivation, self-regulation and interpersonal influence</a:t>
            </a:r>
            <a:r>
              <a:rPr lang="en-US" sz="1100">
                <a:solidFill>
                  <a:schemeClr val="tx1"/>
                </a:solidFill>
              </a:rPr>
              <a:t> to build leadership awarenes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Build ability to analyze </a:t>
            </a:r>
            <a:r>
              <a:rPr lang="en-US" sz="1100" b="1">
                <a:solidFill>
                  <a:schemeClr val="tx1"/>
                </a:solidFill>
              </a:rPr>
              <a:t>group dynamics, cohesion and communication pattern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lang="en-US" sz="1100">
              <a:solidFill>
                <a:schemeClr val="tx1"/>
              </a:solidFill>
            </a:endParaRP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CD632F8-BCA3-08A8-4D62-06DEB40C1AF5}"/>
              </a:ext>
            </a:extLst>
          </p:cNvPr>
          <p:cNvSpPr/>
          <p:nvPr/>
        </p:nvSpPr>
        <p:spPr>
          <a:xfrm>
            <a:off x="4144297" y="4636149"/>
            <a:ext cx="3895909" cy="175492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Explain, relate and apply </a:t>
            </a:r>
            <a:r>
              <a:rPr lang="en-US" sz="1100" b="1">
                <a:solidFill>
                  <a:schemeClr val="tx1"/>
                </a:solidFill>
              </a:rPr>
              <a:t>psychological processes </a:t>
            </a:r>
            <a:r>
              <a:rPr lang="en-US" sz="1100">
                <a:solidFill>
                  <a:schemeClr val="tx1"/>
                </a:solidFill>
              </a:rPr>
              <a:t>to demonstrate </a:t>
            </a:r>
            <a:r>
              <a:rPr lang="en-US" sz="1100" b="1">
                <a:solidFill>
                  <a:schemeClr val="tx1"/>
                </a:solidFill>
              </a:rPr>
              <a:t>leadership and decision-making 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Analyze </a:t>
            </a:r>
            <a:r>
              <a:rPr lang="en-US" sz="1100" b="1">
                <a:solidFill>
                  <a:schemeClr val="tx1"/>
                </a:solidFill>
              </a:rPr>
              <a:t>group dynamics and behavior </a:t>
            </a:r>
            <a:r>
              <a:rPr lang="en-US" sz="1100">
                <a:solidFill>
                  <a:schemeClr val="tx1"/>
                </a:solidFill>
              </a:rPr>
              <a:t>using defined psychological concept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100">
                <a:solidFill>
                  <a:schemeClr val="tx1"/>
                </a:solidFill>
              </a:rPr>
              <a:t>Integrate insights into personal identity through </a:t>
            </a:r>
            <a:r>
              <a:rPr lang="en-US" sz="1100" b="1">
                <a:solidFill>
                  <a:schemeClr val="tx1"/>
                </a:solidFill>
              </a:rPr>
              <a:t>ZMU leadership development system “My Leadership Behavioral Doctrine”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D4E71B7-246C-12AE-793F-C41BB7F3BEE4}"/>
              </a:ext>
            </a:extLst>
          </p:cNvPr>
          <p:cNvSpPr/>
          <p:nvPr/>
        </p:nvSpPr>
        <p:spPr>
          <a:xfrm>
            <a:off x="8233256" y="2281365"/>
            <a:ext cx="3895909" cy="19011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Build </a:t>
            </a:r>
            <a:r>
              <a:rPr lang="en-US" sz="1100" b="1">
                <a:solidFill>
                  <a:schemeClr val="tx1"/>
                </a:solidFill>
              </a:rPr>
              <a:t>ethical reasoning skills </a:t>
            </a:r>
            <a:r>
              <a:rPr lang="en-US" sz="1100">
                <a:solidFill>
                  <a:schemeClr val="tx1"/>
                </a:solidFill>
              </a:rPr>
              <a:t>and examine </a:t>
            </a:r>
            <a:r>
              <a:rPr lang="en-US" sz="1100" b="1">
                <a:solidFill>
                  <a:schemeClr val="tx1"/>
                </a:solidFill>
              </a:rPr>
              <a:t>moral traditions and perspective </a:t>
            </a:r>
            <a:r>
              <a:rPr lang="en-US" sz="1100">
                <a:solidFill>
                  <a:schemeClr val="tx1"/>
                </a:solidFill>
              </a:rPr>
              <a:t>to </a:t>
            </a:r>
            <a:r>
              <a:rPr lang="en-US" sz="1100" b="1">
                <a:solidFill>
                  <a:schemeClr val="tx1"/>
                </a:solidFill>
              </a:rPr>
              <a:t>analyze dilemmas </a:t>
            </a:r>
            <a:r>
              <a:rPr lang="en-US" sz="1100">
                <a:solidFill>
                  <a:schemeClr val="tx1"/>
                </a:solidFill>
              </a:rPr>
              <a:t>in military context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Develop competence in </a:t>
            </a:r>
            <a:r>
              <a:rPr lang="en-US" sz="1100" b="1">
                <a:solidFill>
                  <a:schemeClr val="tx1"/>
                </a:solidFill>
              </a:rPr>
              <a:t>applying ethical frameworks </a:t>
            </a:r>
            <a:r>
              <a:rPr lang="en-US" sz="1100">
                <a:solidFill>
                  <a:schemeClr val="tx1"/>
                </a:solidFill>
              </a:rPr>
              <a:t>to </a:t>
            </a:r>
            <a:r>
              <a:rPr lang="en-US" sz="1100" b="1">
                <a:solidFill>
                  <a:schemeClr val="tx1"/>
                </a:solidFill>
              </a:rPr>
              <a:t>assess moral dilemma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Explore </a:t>
            </a:r>
            <a:r>
              <a:rPr lang="en-US" sz="1100" b="1">
                <a:solidFill>
                  <a:schemeClr val="tx1"/>
                </a:solidFill>
              </a:rPr>
              <a:t>emerging ethical challenges </a:t>
            </a:r>
            <a:r>
              <a:rPr lang="en-US" sz="1100">
                <a:solidFill>
                  <a:schemeClr val="tx1"/>
                </a:solidFill>
              </a:rPr>
              <a:t>to </a:t>
            </a:r>
            <a:r>
              <a:rPr lang="en-US" sz="1100" b="1">
                <a:solidFill>
                  <a:schemeClr val="tx1"/>
                </a:solidFill>
              </a:rPr>
              <a:t>strengthen reasoning </a:t>
            </a:r>
            <a:r>
              <a:rPr lang="en-US" sz="1100">
                <a:solidFill>
                  <a:schemeClr val="tx1"/>
                </a:solidFill>
              </a:rPr>
              <a:t>under future uncertainty</a:t>
            </a:r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4736F0E-C4A0-ADC0-B6A8-E272699EFA5B}"/>
              </a:ext>
            </a:extLst>
          </p:cNvPr>
          <p:cNvSpPr/>
          <p:nvPr/>
        </p:nvSpPr>
        <p:spPr>
          <a:xfrm>
            <a:off x="8233256" y="4636149"/>
            <a:ext cx="3895909" cy="1754924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0" rtlCol="0" anchor="t" anchorCtr="0"/>
          <a:lstStyle/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Evaluate </a:t>
            </a:r>
            <a:r>
              <a:rPr lang="en-US" sz="1100" b="1">
                <a:solidFill>
                  <a:schemeClr val="tx1"/>
                </a:solidFill>
              </a:rPr>
              <a:t>arguments </a:t>
            </a:r>
            <a:r>
              <a:rPr lang="en-US" sz="1100">
                <a:solidFill>
                  <a:schemeClr val="tx1"/>
                </a:solidFill>
              </a:rPr>
              <a:t>and</a:t>
            </a:r>
            <a:r>
              <a:rPr lang="en-US" sz="1100" b="1">
                <a:solidFill>
                  <a:schemeClr val="tx1"/>
                </a:solidFill>
              </a:rPr>
              <a:t> assess competing moral claims </a:t>
            </a:r>
            <a:r>
              <a:rPr lang="en-US" sz="1100">
                <a:solidFill>
                  <a:schemeClr val="tx1"/>
                </a:solidFill>
              </a:rPr>
              <a:t>in leadership case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Apply </a:t>
            </a:r>
            <a:r>
              <a:rPr lang="en-US" sz="1100" b="1">
                <a:solidFill>
                  <a:schemeClr val="tx1"/>
                </a:solidFill>
              </a:rPr>
              <a:t>ethical frameworks </a:t>
            </a:r>
            <a:r>
              <a:rPr lang="en-US" sz="1100">
                <a:solidFill>
                  <a:schemeClr val="tx1"/>
                </a:solidFill>
              </a:rPr>
              <a:t>to </a:t>
            </a:r>
            <a:r>
              <a:rPr lang="en-US" sz="1100" b="1">
                <a:solidFill>
                  <a:schemeClr val="tx1"/>
                </a:solidFill>
              </a:rPr>
              <a:t>analyze dilemmas</a:t>
            </a:r>
            <a:r>
              <a:rPr lang="en-US" sz="1100">
                <a:solidFill>
                  <a:schemeClr val="tx1"/>
                </a:solidFill>
              </a:rPr>
              <a:t> involving conflict, pressure, or new technologies</a:t>
            </a:r>
          </a:p>
          <a:p>
            <a:pPr marL="127000" indent="-127000"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100">
                <a:solidFill>
                  <a:schemeClr val="tx1"/>
                </a:solidFill>
              </a:rPr>
              <a:t>Synthesize course value into a personal identity through </a:t>
            </a:r>
            <a:r>
              <a:rPr lang="en-US" sz="1100" b="1">
                <a:solidFill>
                  <a:schemeClr val="tx1"/>
                </a:solidFill>
              </a:rPr>
              <a:t>ZMU leadership development system “Ethical Leadership Framework”</a:t>
            </a:r>
            <a:endParaRPr lang="en-US" sz="1100" b="1">
              <a:solidFill>
                <a:schemeClr val="tx1"/>
              </a:solidFill>
              <a:latin typeface="Arial" panose="020B0604020202020204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5318D10-79AC-B7EC-3259-76AA5B5804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74868" y="6507611"/>
            <a:ext cx="236494" cy="23630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6E96291-5E19-B27C-AE71-5DB0CBBA2A48}"/>
              </a:ext>
            </a:extLst>
          </p:cNvPr>
          <p:cNvSpPr/>
          <p:nvPr/>
        </p:nvSpPr>
        <p:spPr>
          <a:xfrm>
            <a:off x="9525614" y="995462"/>
            <a:ext cx="2286000" cy="152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n-Exhaustive</a:t>
            </a:r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471C91A0-0648-72F1-2EAE-BB66DBA24CB2}"/>
              </a:ext>
            </a:extLst>
          </p:cNvPr>
          <p:cNvSpPr txBox="1">
            <a:spLocks/>
          </p:cNvSpPr>
          <p:nvPr/>
        </p:nvSpPr>
        <p:spPr>
          <a:xfrm>
            <a:off x="389709" y="6496471"/>
            <a:ext cx="5321345" cy="23728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lIns="0" tIns="0" rIns="0" bIns="0" anchor="b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Source: ZMU</a:t>
            </a:r>
          </a:p>
        </p:txBody>
      </p:sp>
    </p:spTree>
    <p:extLst>
      <p:ext uri="{BB962C8B-B14F-4D97-AF65-F5344CB8AC3E}">
        <p14:creationId xmlns:p14="http://schemas.microsoft.com/office/powerpoint/2010/main" val="40866112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52CF3C-FCD3-2DC9-BFE2-478F087192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Agenda</a:t>
            </a:r>
          </a:p>
          <a:p>
            <a:r>
              <a:rPr lang="en-US">
                <a:solidFill>
                  <a:schemeClr val="tx1">
                    <a:lumMod val="10000"/>
                    <a:lumOff val="90000"/>
                  </a:schemeClr>
                </a:solidFill>
              </a:rPr>
              <a:t>GenEd Overview</a:t>
            </a:r>
          </a:p>
          <a:p>
            <a:r>
              <a:rPr lang="en-US">
                <a:solidFill>
                  <a:srgbClr val="E8E8E8"/>
                </a:solidFill>
              </a:rPr>
              <a:t>IOC GenEd Concept</a:t>
            </a:r>
          </a:p>
          <a:p>
            <a:r>
              <a:rPr lang="en-US">
                <a:solidFill>
                  <a:srgbClr val="E8E8E8"/>
                </a:solidFill>
              </a:rPr>
              <a:t>IOC GenEd Curriculum</a:t>
            </a:r>
          </a:p>
          <a:p>
            <a:r>
              <a:rPr lang="en-US"/>
              <a:t>IOC GenEd Refinements</a:t>
            </a:r>
          </a:p>
        </p:txBody>
      </p:sp>
    </p:spTree>
    <p:extLst>
      <p:ext uri="{BB962C8B-B14F-4D97-AF65-F5344CB8AC3E}">
        <p14:creationId xmlns:p14="http://schemas.microsoft.com/office/powerpoint/2010/main" val="3917090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3FAB45A-4906-39F4-6694-618F9AD25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1079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FAB45A-4906-39F4-6694-618F9AD25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Picture 48">
            <a:extLst>
              <a:ext uri="{FF2B5EF4-FFF2-40B4-BE49-F238E27FC236}">
                <a16:creationId xmlns:a16="http://schemas.microsoft.com/office/drawing/2014/main" id="{20FEC860-ADD0-2E69-B33A-75213153337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2723" r="41668"/>
          <a:stretch/>
        </p:blipFill>
        <p:spPr>
          <a:xfrm>
            <a:off x="0" y="1621469"/>
            <a:ext cx="2913744" cy="48468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4D0E8BE-DEF9-393E-084D-A4033F4F6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709" y="389713"/>
            <a:ext cx="8754291" cy="553998"/>
          </a:xfrm>
        </p:spPr>
        <p:txBody>
          <a:bodyPr vert="horz"/>
          <a:lstStyle/>
          <a:p>
            <a:r>
              <a:rPr lang="en-US"/>
              <a:t>Systematic evaluation assesses whether the ZMU IOC GenEd courses deliver on their objectiv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030B1A-8EC3-9072-76F2-BEC3A65E1D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Source: ZMU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972B9C-8247-2D16-6A9F-CD3AC13A451F}"/>
              </a:ext>
            </a:extLst>
          </p:cNvPr>
          <p:cNvSpPr/>
          <p:nvPr/>
        </p:nvSpPr>
        <p:spPr>
          <a:xfrm>
            <a:off x="2913744" y="1621468"/>
            <a:ext cx="3533132" cy="4846818"/>
          </a:xfrm>
          <a:prstGeom prst="rect">
            <a:avLst/>
          </a:prstGeom>
          <a:solidFill>
            <a:schemeClr val="bg2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274320" rIns="72009" bIns="72009" rtlCol="0" anchor="t"/>
          <a:lstStyle/>
          <a:p>
            <a:pPr algn="ctr">
              <a:lnSpc>
                <a:spcPct val="90000"/>
              </a:lnSpc>
            </a:pPr>
            <a:endParaRPr lang="en-US" sz="1400" b="1">
              <a:solidFill>
                <a:schemeClr val="tx1"/>
              </a:solidFill>
            </a:endParaRP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A939BC8E-21B8-187C-47DF-419EFA056D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2658477"/>
              </p:ext>
            </p:extLst>
          </p:nvPr>
        </p:nvGraphicFramePr>
        <p:xfrm>
          <a:off x="3281764" y="2578040"/>
          <a:ext cx="2959546" cy="31091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9773">
                  <a:extLst>
                    <a:ext uri="{9D8B030D-6E8A-4147-A177-3AD203B41FA5}">
                      <a16:colId xmlns:a16="http://schemas.microsoft.com/office/drawing/2014/main" val="2677013034"/>
                    </a:ext>
                  </a:extLst>
                </a:gridCol>
                <a:gridCol w="1479773">
                  <a:extLst>
                    <a:ext uri="{9D8B030D-6E8A-4147-A177-3AD203B41FA5}">
                      <a16:colId xmlns:a16="http://schemas.microsoft.com/office/drawing/2014/main" val="4041290169"/>
                    </a:ext>
                  </a:extLst>
                </a:gridCol>
              </a:tblGrid>
              <a:tr h="1554577"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Course Content</a:t>
                      </a:r>
                    </a:p>
                  </a:txBody>
                  <a:tcPr marT="50292" marB="50292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Methodology</a:t>
                      </a:r>
                    </a:p>
                  </a:txBody>
                  <a:tcPr marT="50292" marB="502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9970250"/>
                  </a:ext>
                </a:extLst>
              </a:tr>
              <a:tr h="1554577">
                <a:tc>
                  <a:txBody>
                    <a:bodyPr/>
                    <a:lstStyle/>
                    <a:p>
                      <a:pPr algn="ctr"/>
                      <a:r>
                        <a:rPr lang="en-US" sz="1500" b="1"/>
                        <a:t>Learning Experience</a:t>
                      </a:r>
                    </a:p>
                  </a:txBody>
                  <a:tcPr marT="50292" marB="50292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/>
                        <a:t>Learning Outcomes</a:t>
                      </a:r>
                    </a:p>
                  </a:txBody>
                  <a:tcPr marT="50292" marB="502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6464351"/>
                  </a:ext>
                </a:extLst>
              </a:tr>
            </a:tbl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41A85522-EB59-D845-60C7-3BC1A7F1824B}"/>
              </a:ext>
            </a:extLst>
          </p:cNvPr>
          <p:cNvSpPr/>
          <p:nvPr/>
        </p:nvSpPr>
        <p:spPr>
          <a:xfrm rot="16200000">
            <a:off x="2420648" y="3247182"/>
            <a:ext cx="1332082" cy="276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200" b="1">
                <a:solidFill>
                  <a:schemeClr val="tx1"/>
                </a:solidFill>
              </a:rPr>
              <a:t>Course Delivery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384B33E-AFE7-06E6-5320-05F354ADC591}"/>
              </a:ext>
            </a:extLst>
          </p:cNvPr>
          <p:cNvSpPr/>
          <p:nvPr/>
        </p:nvSpPr>
        <p:spPr>
          <a:xfrm rot="16200000">
            <a:off x="2420649" y="4688459"/>
            <a:ext cx="1332082" cy="276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200" b="1">
                <a:solidFill>
                  <a:schemeClr val="tx1"/>
                </a:solidFill>
              </a:rPr>
              <a:t>Cadet Learning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65E55C7-901E-5327-2060-82B152B4847E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GenEd Feedback Approach</a:t>
            </a:r>
          </a:p>
        </p:txBody>
      </p:sp>
      <p:sp>
        <p:nvSpPr>
          <p:cNvPr id="50" name="Process0">
            <a:extLst>
              <a:ext uri="{FF2B5EF4-FFF2-40B4-BE49-F238E27FC236}">
                <a16:creationId xmlns:a16="http://schemas.microsoft.com/office/drawing/2014/main" id="{4EB7B40C-C82C-4649-F43A-B2DA7166F935}"/>
              </a:ext>
            </a:extLst>
          </p:cNvPr>
          <p:cNvSpPr/>
          <p:nvPr/>
        </p:nvSpPr>
        <p:spPr>
          <a:xfrm>
            <a:off x="0" y="1621469"/>
            <a:ext cx="2918885" cy="4846818"/>
          </a:xfrm>
          <a:prstGeom prst="rect">
            <a:avLst/>
          </a:prstGeom>
          <a:solidFill>
            <a:schemeClr val="bg2">
              <a:lumMod val="40000"/>
              <a:lumOff val="6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1" tIns="3017520" rIns="381001" bIns="0" rtlCol="0" anchor="t">
            <a:noAutofit/>
          </a:bodyPr>
          <a:lstStyle/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653853-A3DC-181B-80D3-4E901687DEDC}"/>
              </a:ext>
            </a:extLst>
          </p:cNvPr>
          <p:cNvSpPr/>
          <p:nvPr/>
        </p:nvSpPr>
        <p:spPr>
          <a:xfrm>
            <a:off x="240851" y="2467918"/>
            <a:ext cx="2162105" cy="3153921"/>
          </a:xfrm>
          <a:prstGeom prst="rect">
            <a:avLst/>
          </a:prstGeom>
          <a:solidFill>
            <a:schemeClr val="bg1"/>
          </a:solidFill>
          <a:ln w="2857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>
                <a:solidFill>
                  <a:schemeClr val="tx1"/>
                </a:solidFill>
              </a:rPr>
              <a:t>Systematic evaluation </a:t>
            </a:r>
            <a:r>
              <a:rPr lang="en-US" sz="1400">
                <a:solidFill>
                  <a:schemeClr val="tx1"/>
                </a:solidFill>
              </a:rPr>
              <a:t>confirms whether the GenEd courses deliver on the learning objectives and </a:t>
            </a:r>
            <a:r>
              <a:rPr lang="en-US" sz="1400" b="1">
                <a:solidFill>
                  <a:schemeClr val="tx1"/>
                </a:solidFill>
              </a:rPr>
              <a:t>provide a consistent experience </a:t>
            </a:r>
            <a:r>
              <a:rPr lang="en-US" sz="1400">
                <a:solidFill>
                  <a:schemeClr val="tx1"/>
                </a:solidFill>
              </a:rPr>
              <a:t>across AP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04B9E94-960D-C9A4-4131-999292F731E2}"/>
              </a:ext>
            </a:extLst>
          </p:cNvPr>
          <p:cNvSpPr/>
          <p:nvPr/>
        </p:nvSpPr>
        <p:spPr>
          <a:xfrm>
            <a:off x="6944215" y="1621468"/>
            <a:ext cx="5247785" cy="55671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>
                <a:solidFill>
                  <a:schemeClr val="tx2"/>
                </a:solidFill>
              </a:rPr>
              <a:t>Feedback Domains Assessed</a:t>
            </a: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26A3F5C2-C45C-A12C-16D6-B80D60C8B9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2450" y="1664241"/>
            <a:ext cx="471171" cy="471171"/>
          </a:xfrm>
          <a:prstGeom prst="rect">
            <a:avLst/>
          </a:prstGeom>
        </p:spPr>
      </p:pic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A258E7B8-30BB-64D2-9C80-ABF88BA4A879}"/>
              </a:ext>
            </a:extLst>
          </p:cNvPr>
          <p:cNvSpPr/>
          <p:nvPr/>
        </p:nvSpPr>
        <p:spPr>
          <a:xfrm rot="5400000">
            <a:off x="6452172" y="3943899"/>
            <a:ext cx="467833" cy="201961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EDD2581D-C7CD-677F-C2A5-0EF7429D348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2723" r="41668"/>
          <a:stretch/>
        </p:blipFill>
        <p:spPr>
          <a:xfrm>
            <a:off x="6944215" y="2271690"/>
            <a:ext cx="5247785" cy="4196595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7BA85CD5-777F-E542-56FC-493CA08E76F4}"/>
              </a:ext>
            </a:extLst>
          </p:cNvPr>
          <p:cNvSpPr/>
          <p:nvPr/>
        </p:nvSpPr>
        <p:spPr>
          <a:xfrm>
            <a:off x="6944215" y="2271692"/>
            <a:ext cx="5247785" cy="4196594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91440" rIns="72009" bIns="72009" rtlCol="0" anchor="t"/>
          <a:lstStyle/>
          <a:p>
            <a:pPr algn="ctr">
              <a:lnSpc>
                <a:spcPct val="90000"/>
              </a:lnSpc>
            </a:pPr>
            <a:r>
              <a:rPr lang="en-US" sz="1400">
                <a:solidFill>
                  <a:schemeClr val="bg1"/>
                </a:solidFill>
              </a:rPr>
              <a:t>GenEd feedback was received by </a:t>
            </a:r>
            <a:r>
              <a:rPr lang="en-US" sz="1400" b="1">
                <a:solidFill>
                  <a:schemeClr val="bg1"/>
                </a:solidFill>
              </a:rPr>
              <a:t>content delivering faculty</a:t>
            </a:r>
            <a:r>
              <a:rPr lang="en-US" sz="1400">
                <a:solidFill>
                  <a:schemeClr val="bg1"/>
                </a:solidFill>
              </a:rPr>
              <a:t> through </a:t>
            </a:r>
            <a:r>
              <a:rPr lang="en-US" sz="1400" b="1">
                <a:solidFill>
                  <a:schemeClr val="bg1"/>
                </a:solidFill>
              </a:rPr>
              <a:t>structured survey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C3B2D02-E078-FE09-360B-4A721A7A95BE}"/>
              </a:ext>
            </a:extLst>
          </p:cNvPr>
          <p:cNvSpPr/>
          <p:nvPr/>
        </p:nvSpPr>
        <p:spPr>
          <a:xfrm>
            <a:off x="9129140" y="6247413"/>
            <a:ext cx="2956164" cy="1640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r">
              <a:lnSpc>
                <a:spcPct val="90000"/>
              </a:lnSpc>
            </a:pPr>
            <a:r>
              <a:rPr lang="en-US" sz="1100" b="1" i="1">
                <a:solidFill>
                  <a:schemeClr val="bg1"/>
                </a:solidFill>
              </a:rPr>
              <a:t>Deep dive belo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4E72E1-3B50-7BBE-86CA-69F294222AAE}"/>
              </a:ext>
            </a:extLst>
          </p:cNvPr>
          <p:cNvSpPr/>
          <p:nvPr/>
        </p:nvSpPr>
        <p:spPr>
          <a:xfrm>
            <a:off x="0" y="1621468"/>
            <a:ext cx="2918885" cy="556717"/>
          </a:xfrm>
          <a:prstGeom prst="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>
                <a:solidFill>
                  <a:schemeClr val="tx1"/>
                </a:solidFill>
              </a:rPr>
              <a:t>Purpose of GenEd Feedbac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413A23-637C-C537-F5C8-91A0FDC5AC64}"/>
              </a:ext>
            </a:extLst>
          </p:cNvPr>
          <p:cNvSpPr/>
          <p:nvPr/>
        </p:nvSpPr>
        <p:spPr>
          <a:xfrm>
            <a:off x="2913744" y="1621468"/>
            <a:ext cx="3533132" cy="556717"/>
          </a:xfrm>
          <a:prstGeom prst="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>
                <a:solidFill>
                  <a:schemeClr val="tx1"/>
                </a:solidFill>
              </a:rPr>
              <a:t>GenEd Assessment Evaluation Componen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AE44DEA-E762-05E9-DB85-6E825DAE4B60}"/>
              </a:ext>
            </a:extLst>
          </p:cNvPr>
          <p:cNvGrpSpPr/>
          <p:nvPr/>
        </p:nvGrpSpPr>
        <p:grpSpPr>
          <a:xfrm>
            <a:off x="7187184" y="2908585"/>
            <a:ext cx="2246693" cy="3306929"/>
            <a:chOff x="7663104" y="2908585"/>
            <a:chExt cx="3810007" cy="235190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061974B-8B3F-1052-ECE0-EED644F232E9}"/>
                </a:ext>
              </a:extLst>
            </p:cNvPr>
            <p:cNvSpPr/>
            <p:nvPr/>
          </p:nvSpPr>
          <p:spPr>
            <a:xfrm>
              <a:off x="7663104" y="2908585"/>
              <a:ext cx="3810007" cy="556355"/>
            </a:xfrm>
            <a:prstGeom prst="rect">
              <a:avLst/>
            </a:prstGeom>
            <a:solidFill>
              <a:srgbClr val="F2F2F2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Relevance and volume of course conten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235EAC0-40DA-6E32-4503-17E8F1AA1520}"/>
                </a:ext>
              </a:extLst>
            </p:cNvPr>
            <p:cNvSpPr/>
            <p:nvPr/>
          </p:nvSpPr>
          <p:spPr>
            <a:xfrm>
              <a:off x="7663104" y="3507102"/>
              <a:ext cx="3810007" cy="556355"/>
            </a:xfrm>
            <a:prstGeom prst="rect">
              <a:avLst/>
            </a:prstGeom>
            <a:solidFill>
              <a:srgbClr val="E7D6C4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Cadet engagement through delivery methodology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C200064-64CB-2913-386A-D19FE66EF4F6}"/>
                </a:ext>
              </a:extLst>
            </p:cNvPr>
            <p:cNvSpPr/>
            <p:nvPr/>
          </p:nvSpPr>
          <p:spPr>
            <a:xfrm>
              <a:off x="7663104" y="4105619"/>
              <a:ext cx="3810007" cy="556355"/>
            </a:xfrm>
            <a:prstGeom prst="rect">
              <a:avLst/>
            </a:prstGeom>
            <a:solidFill>
              <a:srgbClr val="D2D3E6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Cadets’ perceived value and learning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1497972-4F10-526C-EAF1-61D649670197}"/>
                </a:ext>
              </a:extLst>
            </p:cNvPr>
            <p:cNvSpPr/>
            <p:nvPr/>
          </p:nvSpPr>
          <p:spPr>
            <a:xfrm>
              <a:off x="7663104" y="4704135"/>
              <a:ext cx="3810007" cy="5563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Transferable practices that translate to cadet skills</a:t>
              </a: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571BFB04-9AE0-17F6-C992-3A1B80C63F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73319" y="3098062"/>
            <a:ext cx="2247739" cy="2927975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9705907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651DB9C-8B62-79C8-51E3-8053946CF1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25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51DB9C-8B62-79C8-51E3-8053946CF1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1F2FA9-FC84-477A-61D2-C8A6A2E40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Q4 2025 survey reflects successful course delivery and cadet learning practices and identifies proposed modifications for 2026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73325D-8ED6-37AF-12B9-9D58731D37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/>
              <a:t>Source: ZMU, Academic Partne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1FDFB21-0B3E-4B25-9387-6BF7FE5CB9BF}"/>
              </a:ext>
            </a:extLst>
          </p:cNvPr>
          <p:cNvSpPr/>
          <p:nvPr/>
        </p:nvSpPr>
        <p:spPr>
          <a:xfrm>
            <a:off x="3253830" y="5061470"/>
            <a:ext cx="1906208" cy="120613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120" tIns="73152" rIns="71120" bIns="711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52400" indent="-152400" defTabSz="1172398" hangingPunct="0">
              <a:lnSpc>
                <a:spcPct val="90000"/>
              </a:lnSpc>
              <a:spcBef>
                <a:spcPts val="9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1484B"/>
              </a:solidFill>
              <a:effectLst/>
              <a:uLnTx/>
              <a:uFillTx/>
              <a:latin typeface="Arial" panose="020B0604020202020204"/>
              <a:ea typeface="Malgun Gothic" panose="020B0503020000020004" pitchFamily="34" charset="-127"/>
              <a:cs typeface="Arial" pitchFamily="34" charset="0"/>
              <a:sym typeface="Malgun Gothic" panose="020B0503020000020004" pitchFamily="34" charset="-127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FFEFC5-9BED-1112-7D5F-9E21A5D8A76B}"/>
              </a:ext>
            </a:extLst>
          </p:cNvPr>
          <p:cNvSpPr/>
          <p:nvPr/>
        </p:nvSpPr>
        <p:spPr>
          <a:xfrm>
            <a:off x="3145033" y="4916363"/>
            <a:ext cx="1906208" cy="1232085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37160" tIns="73152" rIns="91440" bIns="711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52400" indent="-152400" defTabSz="1172398" hangingPunct="0">
              <a:lnSpc>
                <a:spcPct val="90000"/>
              </a:lnSpc>
              <a:spcBef>
                <a:spcPts val="5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000000"/>
                </a:solidFill>
              </a:rPr>
              <a:t>Increase UAE/MENA materials</a:t>
            </a:r>
            <a:r>
              <a:rPr lang="en-US" sz="1200">
                <a:solidFill>
                  <a:srgbClr val="000000"/>
                </a:solidFill>
              </a:rPr>
              <a:t>, military case studies, and pragmatic course cont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A115ADA-ACA0-78D0-4C99-EF286BC26648}"/>
              </a:ext>
            </a:extLst>
          </p:cNvPr>
          <p:cNvSpPr/>
          <p:nvPr/>
        </p:nvSpPr>
        <p:spPr>
          <a:xfrm>
            <a:off x="5560152" y="5061470"/>
            <a:ext cx="1906208" cy="120613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120" tIns="73152" rIns="71120" bIns="711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2398" rtl="0" eaLnBrk="1" fontAlgn="auto" latinLnBrk="0" hangingPunc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B595B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1484B"/>
              </a:solidFill>
              <a:effectLst/>
              <a:uLnTx/>
              <a:uFillTx/>
              <a:latin typeface="Arial" panose="020B0604020202020204"/>
              <a:ea typeface="Malgun Gothic" panose="020B0503020000020004" pitchFamily="34" charset="-127"/>
              <a:cs typeface="Arial" pitchFamily="34" charset="0"/>
              <a:sym typeface="Malgun Gothic" panose="020B0503020000020004" pitchFamily="34" charset="-127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93BE707-118D-CFA3-4FD6-057F489599E2}"/>
              </a:ext>
            </a:extLst>
          </p:cNvPr>
          <p:cNvSpPr/>
          <p:nvPr/>
        </p:nvSpPr>
        <p:spPr>
          <a:xfrm>
            <a:off x="5451355" y="4916363"/>
            <a:ext cx="1906208" cy="1232085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37160" tIns="73152" rIns="91440" bIns="711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52400" indent="-152400" defTabSz="1172398" hangingPunct="0">
              <a:lnSpc>
                <a:spcPct val="90000"/>
              </a:lnSpc>
              <a:spcBef>
                <a:spcPts val="5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Include additional visual aids </a:t>
            </a:r>
            <a:r>
              <a:rPr lang="en-US" sz="1200">
                <a:solidFill>
                  <a:srgbClr val="1E1E1E"/>
                </a:solidFill>
              </a:rPr>
              <a:t>and interviews with UAE military officers to enhance cadet engagement</a:t>
            </a: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DE8CE7-5C8F-24C9-5BC9-B7A042E6FCAB}"/>
              </a:ext>
            </a:extLst>
          </p:cNvPr>
          <p:cNvSpPr/>
          <p:nvPr/>
        </p:nvSpPr>
        <p:spPr>
          <a:xfrm>
            <a:off x="7866474" y="5061470"/>
            <a:ext cx="1906208" cy="120613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120" tIns="73152" rIns="71120" bIns="711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2398" rtl="0" eaLnBrk="1" fontAlgn="auto" latinLnBrk="0" hangingPunc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B595B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1484B"/>
              </a:solidFill>
              <a:effectLst/>
              <a:uLnTx/>
              <a:uFillTx/>
              <a:latin typeface="Arial" panose="020B0604020202020204"/>
              <a:ea typeface="Malgun Gothic" panose="020B0503020000020004" pitchFamily="34" charset="-127"/>
              <a:cs typeface="Arial" pitchFamily="34" charset="0"/>
              <a:sym typeface="Malgun Gothic" panose="020B0503020000020004" pitchFamily="34" charset="-127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457CCA-957F-352F-A50B-F661ACE96D06}"/>
              </a:ext>
            </a:extLst>
          </p:cNvPr>
          <p:cNvSpPr/>
          <p:nvPr/>
        </p:nvSpPr>
        <p:spPr>
          <a:xfrm>
            <a:off x="7757677" y="4916363"/>
            <a:ext cx="1906208" cy="1232085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37160" tIns="73152" rIns="91440" bIns="711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52400" indent="-1524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000000"/>
                </a:solidFill>
              </a:rPr>
              <a:t>Introduce workshops between Military Training Wing and APs</a:t>
            </a:r>
            <a:r>
              <a:rPr lang="en-US" sz="1200">
                <a:solidFill>
                  <a:srgbClr val="000000"/>
                </a:solidFill>
              </a:rPr>
              <a:t> to unify </a:t>
            </a:r>
            <a:r>
              <a:rPr lang="en-US" sz="1200"/>
              <a:t>cadet learning outcomes </a:t>
            </a:r>
            <a:endParaRPr lang="it-IT" sz="1200">
              <a:solidFill>
                <a:srgbClr val="000000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E8EA571-9F29-0A5E-6088-C17B845440B0}"/>
              </a:ext>
            </a:extLst>
          </p:cNvPr>
          <p:cNvSpPr/>
          <p:nvPr/>
        </p:nvSpPr>
        <p:spPr>
          <a:xfrm>
            <a:off x="10172797" y="5061470"/>
            <a:ext cx="1906208" cy="120613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120" tIns="73152" rIns="71120" bIns="711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72398" rtl="0" eaLnBrk="1" fontAlgn="auto" latinLnBrk="0" hangingPunc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B595B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1484B"/>
              </a:solidFill>
              <a:effectLst/>
              <a:uLnTx/>
              <a:uFillTx/>
              <a:latin typeface="Arial" panose="020B0604020202020204"/>
              <a:ea typeface="Malgun Gothic" panose="020B0503020000020004" pitchFamily="34" charset="-127"/>
              <a:cs typeface="Arial" pitchFamily="34" charset="0"/>
              <a:sym typeface="Malgun Gothic" panose="020B0503020000020004" pitchFamily="34" charset="-127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BA6627A-7923-9436-6EC4-F8AD292C1EC5}"/>
              </a:ext>
            </a:extLst>
          </p:cNvPr>
          <p:cNvSpPr/>
          <p:nvPr/>
        </p:nvSpPr>
        <p:spPr>
          <a:xfrm>
            <a:off x="10064000" y="4916363"/>
            <a:ext cx="1906208" cy="1232085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37160" tIns="73152" rIns="91440" bIns="711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52400" indent="-152400" defTabSz="1172398" hangingPunct="0">
              <a:lnSpc>
                <a:spcPct val="90000"/>
              </a:lnSpc>
              <a:spcBef>
                <a:spcPts val="5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000000"/>
                </a:solidFill>
              </a:rPr>
              <a:t>Include greater contextually relevant topics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/>
              <a:t>like social media, technology etc. to increase cadet interest</a:t>
            </a: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6EBBB5D-CA4D-05BC-112C-6766E570A4E1}"/>
              </a:ext>
            </a:extLst>
          </p:cNvPr>
          <p:cNvSpPr/>
          <p:nvPr/>
        </p:nvSpPr>
        <p:spPr>
          <a:xfrm>
            <a:off x="5787791" y="4615465"/>
            <a:ext cx="3648456" cy="3268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osed Modification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highlight>
                <a:srgbClr val="FF00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39B8D4A-68E7-31CD-4656-96ECA7B21188}"/>
              </a:ext>
            </a:extLst>
          </p:cNvPr>
          <p:cNvGrpSpPr/>
          <p:nvPr/>
        </p:nvGrpSpPr>
        <p:grpSpPr>
          <a:xfrm>
            <a:off x="3145033" y="0"/>
            <a:ext cx="8933972" cy="521902"/>
            <a:chOff x="3145033" y="204599"/>
            <a:chExt cx="8933972" cy="521902"/>
          </a:xfrm>
        </p:grpSpPr>
        <p:sp>
          <p:nvSpPr>
            <p:cNvPr id="45" name="Rectangle: Top Corners Rounded 44">
              <a:extLst>
                <a:ext uri="{FF2B5EF4-FFF2-40B4-BE49-F238E27FC236}">
                  <a16:creationId xmlns:a16="http://schemas.microsoft.com/office/drawing/2014/main" id="{ECB802B7-11ED-0C5D-F960-619DF681263A}"/>
                </a:ext>
              </a:extLst>
            </p:cNvPr>
            <p:cNvSpPr/>
            <p:nvPr/>
          </p:nvSpPr>
          <p:spPr>
            <a:xfrm rot="5400000">
              <a:off x="7351068" y="-4001436"/>
              <a:ext cx="521902" cy="89339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2">
                <a:lumMod val="50000"/>
              </a:scheme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270" wrap="square" lIns="91440" tIns="0" rIns="91440" bIns="91440" numCol="1" spcCol="38100" rtlCol="0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Calibri"/>
                  <a:cs typeface="Calibri"/>
                  <a:sym typeface="Calibri"/>
                </a:rPr>
                <a:t>GenEd 2025 IOC Survey Results for English 1 and English 2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B4093398-FE3F-747B-77E6-BD220216FF88}"/>
                </a:ext>
              </a:extLst>
            </p:cNvPr>
            <p:cNvGrpSpPr/>
            <p:nvPr/>
          </p:nvGrpSpPr>
          <p:grpSpPr>
            <a:xfrm>
              <a:off x="11563192" y="253557"/>
              <a:ext cx="466385" cy="423986"/>
              <a:chOff x="12669272" y="570212"/>
              <a:chExt cx="564326" cy="564326"/>
            </a:xfrm>
          </p:grpSpPr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B5CFD46A-492D-FEA5-38B8-3BB103AB9FFE}"/>
                  </a:ext>
                </a:extLst>
              </p:cNvPr>
              <p:cNvSpPr/>
              <p:nvPr/>
            </p:nvSpPr>
            <p:spPr>
              <a:xfrm>
                <a:off x="12669272" y="570212"/>
                <a:ext cx="564326" cy="56432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9" tIns="72009" rIns="72009" bIns="72009"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1E1E1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43" name="Graphic 42">
                <a:extLst>
                  <a:ext uri="{FF2B5EF4-FFF2-40B4-BE49-F238E27FC236}">
                    <a16:creationId xmlns:a16="http://schemas.microsoft.com/office/drawing/2014/main" id="{3BE0EBD3-2E9F-B706-7B66-24248C13A8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12755923" y="656862"/>
                <a:ext cx="391026" cy="391027"/>
              </a:xfrm>
              <a:prstGeom prst="rect">
                <a:avLst/>
              </a:prstGeom>
            </p:spPr>
          </p:pic>
        </p:grp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0C8C50CD-629C-AEBE-2AB4-B0DF547A9C8D}"/>
              </a:ext>
            </a:extLst>
          </p:cNvPr>
          <p:cNvSpPr/>
          <p:nvPr/>
        </p:nvSpPr>
        <p:spPr>
          <a:xfrm>
            <a:off x="3145033" y="852375"/>
            <a:ext cx="2015005" cy="3763090"/>
          </a:xfrm>
          <a:prstGeom prst="roundRect">
            <a:avLst>
              <a:gd name="adj" fmla="val 3035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2700000" scaled="1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r>
              <a:rPr lang="en-US" sz="1200" b="1">
                <a:solidFill>
                  <a:schemeClr val="bg2">
                    <a:lumMod val="75000"/>
                  </a:schemeClr>
                </a:solidFill>
              </a:rPr>
              <a:t>COURSE </a:t>
            </a:r>
            <a:br>
              <a:rPr lang="en-US" sz="1200" b="1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200" b="1">
                <a:solidFill>
                  <a:schemeClr val="bg2">
                    <a:lumMod val="75000"/>
                  </a:schemeClr>
                </a:solidFill>
              </a:rPr>
              <a:t>CONTENT </a:t>
            </a:r>
            <a:endParaRPr lang="en-US" sz="1200">
              <a:solidFill>
                <a:schemeClr val="bg2">
                  <a:lumMod val="75000"/>
                </a:schemeClr>
              </a:solidFill>
            </a:endParaRPr>
          </a:p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endParaRPr lang="en-US" sz="1200">
              <a:solidFill>
                <a:srgbClr val="1E1E1E"/>
              </a:solidFill>
            </a:endParaRPr>
          </a:p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endParaRPr lang="en-US" sz="1200">
              <a:solidFill>
                <a:srgbClr val="1E1E1E"/>
              </a:solidFill>
            </a:endParaRPr>
          </a:p>
          <a:p>
            <a:pPr marL="152400" indent="-15240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Cadets were drawn to pragmatic topics </a:t>
            </a:r>
            <a:r>
              <a:rPr lang="en-US" sz="1200">
                <a:solidFill>
                  <a:srgbClr val="1E1E1E"/>
                </a:solidFill>
              </a:rPr>
              <a:t>on  leadership and military themes that led to personal reflection</a:t>
            </a:r>
          </a:p>
          <a:p>
            <a:pPr marL="152400" indent="-15240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Volume and pace of course content was challenging for some cadets, with feedback that </a:t>
            </a:r>
            <a:r>
              <a:rPr lang="en-US" sz="1200" b="1">
                <a:solidFill>
                  <a:srgbClr val="1E1E1E"/>
                </a:solidFill>
              </a:rPr>
              <a:t>UAE/MENA content was limited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0E117F06-7C52-17AD-48BF-1984E1BBBB9E}"/>
              </a:ext>
            </a:extLst>
          </p:cNvPr>
          <p:cNvSpPr/>
          <p:nvPr/>
        </p:nvSpPr>
        <p:spPr>
          <a:xfrm>
            <a:off x="7757677" y="852375"/>
            <a:ext cx="2015005" cy="3763090"/>
          </a:xfrm>
          <a:prstGeom prst="roundRect">
            <a:avLst>
              <a:gd name="adj" fmla="val 3035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2700000" scaled="1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r>
              <a:rPr lang="en-US" sz="1200" b="1">
                <a:solidFill>
                  <a:schemeClr val="accent2"/>
                </a:solidFill>
              </a:rPr>
              <a:t>LEARNING </a:t>
            </a:r>
            <a:br>
              <a:rPr lang="en-US" sz="1200" b="1">
                <a:solidFill>
                  <a:schemeClr val="accent2"/>
                </a:solidFill>
              </a:rPr>
            </a:br>
            <a:r>
              <a:rPr lang="en-US" sz="1200" b="1">
                <a:solidFill>
                  <a:schemeClr val="accent2"/>
                </a:solidFill>
              </a:rPr>
              <a:t>EXPERIENCE</a:t>
            </a:r>
            <a:endParaRPr lang="en-US" sz="1200">
              <a:solidFill>
                <a:schemeClr val="accent2"/>
              </a:solidFill>
            </a:endParaRPr>
          </a:p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endParaRPr lang="en-US" sz="1200">
              <a:solidFill>
                <a:srgbClr val="1E1E1E"/>
              </a:solidFill>
            </a:endParaRPr>
          </a:p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endParaRPr lang="en-US" sz="1200">
              <a:solidFill>
                <a:srgbClr val="1E1E1E"/>
              </a:solidFill>
            </a:endParaRPr>
          </a:p>
          <a:p>
            <a:pPr marL="152400" indent="-152400"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chemeClr val="tx1"/>
                </a:solidFill>
              </a:rPr>
              <a:t>Comprehension of complex leadership </a:t>
            </a:r>
            <a:r>
              <a:rPr lang="en-US" sz="1200" b="1">
                <a:solidFill>
                  <a:schemeClr val="tx1"/>
                </a:solidFill>
              </a:rPr>
              <a:t>topics benefited greatly from shorter readings </a:t>
            </a:r>
            <a:r>
              <a:rPr lang="en-US" sz="1200">
                <a:solidFill>
                  <a:schemeClr val="tx1"/>
                </a:solidFill>
              </a:rPr>
              <a:t>followed by group discussions</a:t>
            </a:r>
          </a:p>
          <a:p>
            <a:pPr marL="152400" indent="-152400"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chemeClr val="tx1"/>
                </a:solidFill>
              </a:rPr>
              <a:t>Limited alignment between cadet military training and course curriculum </a:t>
            </a:r>
            <a:r>
              <a:rPr lang="en-US" sz="1200">
                <a:solidFill>
                  <a:schemeClr val="tx1"/>
                </a:solidFill>
              </a:rPr>
              <a:t>presented a missed opportunity to unify cadets’ overarching military experience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4F58AB0-964A-37C1-991E-651FDC41E9B9}"/>
              </a:ext>
            </a:extLst>
          </p:cNvPr>
          <p:cNvSpPr/>
          <p:nvPr/>
        </p:nvSpPr>
        <p:spPr>
          <a:xfrm>
            <a:off x="5451355" y="852375"/>
            <a:ext cx="2015005" cy="3763090"/>
          </a:xfrm>
          <a:prstGeom prst="roundRect">
            <a:avLst>
              <a:gd name="adj" fmla="val 3035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2700000" scaled="1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r>
              <a:rPr lang="en-US" sz="1200" b="1">
                <a:solidFill>
                  <a:schemeClr val="bg2">
                    <a:lumMod val="75000"/>
                  </a:schemeClr>
                </a:solidFill>
              </a:rPr>
              <a:t>DELIVERY METHODOLOGY</a:t>
            </a:r>
            <a:endParaRPr lang="en-US" sz="1200">
              <a:solidFill>
                <a:schemeClr val="bg2">
                  <a:lumMod val="75000"/>
                </a:schemeClr>
              </a:solidFill>
            </a:endParaRPr>
          </a:p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endParaRPr lang="en-US" sz="1200">
              <a:solidFill>
                <a:schemeClr val="bg2">
                  <a:lumMod val="75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endParaRPr lang="en-US" sz="1200">
              <a:solidFill>
                <a:srgbClr val="1E1E1E"/>
              </a:solidFill>
            </a:endParaRPr>
          </a:p>
          <a:p>
            <a:pPr marL="152400" indent="-15240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Using multimodal materials</a:t>
            </a:r>
            <a:r>
              <a:rPr lang="en-US" sz="1200">
                <a:solidFill>
                  <a:srgbClr val="1E1E1E"/>
                </a:solidFill>
              </a:rPr>
              <a:t> (case studies, podcasts etc.) </a:t>
            </a:r>
            <a:r>
              <a:rPr lang="en-US" sz="1200" b="1">
                <a:solidFill>
                  <a:srgbClr val="1E1E1E"/>
                </a:solidFill>
              </a:rPr>
              <a:t>supported learning and writing development</a:t>
            </a:r>
          </a:p>
          <a:p>
            <a:pPr marL="152400" indent="-15240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Topics, such as transactional versus transformational concepts, were </a:t>
            </a:r>
            <a:r>
              <a:rPr lang="en-US" sz="1200" b="1">
                <a:solidFill>
                  <a:srgbClr val="1E1E1E"/>
                </a:solidFill>
              </a:rPr>
              <a:t>disengaging for cadets when delivered as pure theory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8F5FB60-A75A-F1E5-BB4E-D28799F54F14}"/>
              </a:ext>
            </a:extLst>
          </p:cNvPr>
          <p:cNvSpPr/>
          <p:nvPr/>
        </p:nvSpPr>
        <p:spPr>
          <a:xfrm>
            <a:off x="10064000" y="852375"/>
            <a:ext cx="2015005" cy="3763090"/>
          </a:xfrm>
          <a:prstGeom prst="roundRect">
            <a:avLst>
              <a:gd name="adj" fmla="val 3035"/>
            </a:avLst>
          </a:prstGeom>
          <a:solidFill>
            <a:srgbClr val="FCFCFC"/>
          </a:solidFill>
          <a:ln w="6350" cap="rnd" cmpd="sng" algn="ctr">
            <a:solidFill>
              <a:schemeClr val="bg1">
                <a:lumMod val="85000"/>
                <a:alpha val="90000"/>
              </a:schemeClr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r>
              <a:rPr lang="en-US" sz="1200" b="1">
                <a:solidFill>
                  <a:schemeClr val="accent2"/>
                </a:solidFill>
              </a:rPr>
              <a:t>LEARNING </a:t>
            </a:r>
            <a:br>
              <a:rPr lang="en-US" sz="1200" b="1">
                <a:solidFill>
                  <a:schemeClr val="accent2"/>
                </a:solidFill>
              </a:rPr>
            </a:br>
            <a:r>
              <a:rPr lang="en-US" sz="1200" b="1">
                <a:solidFill>
                  <a:schemeClr val="accent2"/>
                </a:solidFill>
              </a:rPr>
              <a:t>OUTCOMES</a:t>
            </a:r>
            <a:endParaRPr lang="en-US" sz="1200">
              <a:solidFill>
                <a:schemeClr val="accent2"/>
              </a:solidFill>
            </a:endParaRPr>
          </a:p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endParaRPr lang="en-US" sz="1200">
              <a:solidFill>
                <a:srgbClr val="1E1E1E"/>
              </a:solidFill>
            </a:endParaRPr>
          </a:p>
          <a:p>
            <a:pPr lvl="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defRPr/>
            </a:pPr>
            <a:endParaRPr lang="en-US" sz="1200">
              <a:solidFill>
                <a:srgbClr val="1E1E1E"/>
              </a:solidFill>
            </a:endParaRPr>
          </a:p>
          <a:p>
            <a:pPr marL="139700" indent="-13970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Faculty observed </a:t>
            </a:r>
            <a:r>
              <a:rPr lang="en-US" sz="1200" b="1">
                <a:solidFill>
                  <a:srgbClr val="1E1E1E"/>
                </a:solidFill>
              </a:rPr>
              <a:t>consistency in argumentative writing, shared standard of academic integrity </a:t>
            </a:r>
            <a:r>
              <a:rPr lang="en-US" sz="1200">
                <a:solidFill>
                  <a:srgbClr val="1E1E1E"/>
                </a:solidFill>
              </a:rPr>
              <a:t>and, analytical writing through practices like evidence-driven framework and structured paraphrasing</a:t>
            </a:r>
          </a:p>
          <a:p>
            <a:pPr marL="139700" indent="-139700">
              <a:spcBef>
                <a:spcPts val="600"/>
              </a:spcBef>
              <a:spcAft>
                <a:spcPts val="1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chemeClr val="tx1"/>
                </a:solidFill>
              </a:rPr>
              <a:t>Cadets perceived limited practical application </a:t>
            </a:r>
            <a:r>
              <a:rPr lang="en-US" sz="1200">
                <a:solidFill>
                  <a:schemeClr val="tx1"/>
                </a:solidFill>
              </a:rPr>
              <a:t>due to limited contextually relevant materials</a:t>
            </a:r>
            <a:endParaRPr lang="en-US" sz="1200">
              <a:solidFill>
                <a:srgbClr val="1E1E1E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3C8A866-916F-88A9-67B5-59763F0D18A5}"/>
              </a:ext>
            </a:extLst>
          </p:cNvPr>
          <p:cNvGrpSpPr/>
          <p:nvPr/>
        </p:nvGrpSpPr>
        <p:grpSpPr>
          <a:xfrm>
            <a:off x="4668735" y="852375"/>
            <a:ext cx="491303" cy="948782"/>
            <a:chOff x="11478905" y="852375"/>
            <a:chExt cx="491303" cy="94878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EAEC16F-0608-66F3-E6A3-DD193739903A}"/>
                </a:ext>
              </a:extLst>
            </p:cNvPr>
            <p:cNvSpPr/>
            <p:nvPr/>
          </p:nvSpPr>
          <p:spPr>
            <a:xfrm>
              <a:off x="11478905" y="852375"/>
              <a:ext cx="491303" cy="94878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/>
              </a:endParaRPr>
            </a:p>
          </p:txBody>
        </p:sp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E70BFA91-6AD4-2E04-080D-7C41D8C147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546817" y="1149027"/>
              <a:ext cx="355478" cy="355478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4CAECC7B-2B40-099B-287C-653AB37BDF2D}"/>
              </a:ext>
            </a:extLst>
          </p:cNvPr>
          <p:cNvGrpSpPr/>
          <p:nvPr/>
        </p:nvGrpSpPr>
        <p:grpSpPr>
          <a:xfrm>
            <a:off x="11587702" y="852375"/>
            <a:ext cx="491303" cy="948782"/>
            <a:chOff x="11308782" y="3968721"/>
            <a:chExt cx="491303" cy="948782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1A5E6CEA-9872-5F4B-FFB0-06026EB506BC}"/>
                </a:ext>
              </a:extLst>
            </p:cNvPr>
            <p:cNvSpPr/>
            <p:nvPr/>
          </p:nvSpPr>
          <p:spPr>
            <a:xfrm>
              <a:off x="11308782" y="3968721"/>
              <a:ext cx="491303" cy="94878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/>
              </a:endParaRPr>
            </a:p>
          </p:txBody>
        </p: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050CC0F2-BABB-8646-FE4D-EE0BA96F3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1379200" y="4267200"/>
              <a:ext cx="355478" cy="355478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42EB083-C2B5-6A7C-723C-A03D4D131EF2}"/>
              </a:ext>
            </a:extLst>
          </p:cNvPr>
          <p:cNvGrpSpPr/>
          <p:nvPr/>
        </p:nvGrpSpPr>
        <p:grpSpPr>
          <a:xfrm>
            <a:off x="9281379" y="852375"/>
            <a:ext cx="491303" cy="948782"/>
            <a:chOff x="11308782" y="2929939"/>
            <a:chExt cx="491303" cy="948782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C5ABD67C-83E8-680A-03E5-F65984AF73EB}"/>
                </a:ext>
              </a:extLst>
            </p:cNvPr>
            <p:cNvSpPr/>
            <p:nvPr/>
          </p:nvSpPr>
          <p:spPr>
            <a:xfrm>
              <a:off x="11308782" y="2929939"/>
              <a:ext cx="491303" cy="94878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/>
              </a:endParaRPr>
            </a:p>
          </p:txBody>
        </p:sp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AFD10BCA-E797-017D-FE73-566C5E2F6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1379200" y="3225800"/>
              <a:ext cx="355478" cy="355478"/>
            </a:xfrm>
            <a:prstGeom prst="rect">
              <a:avLst/>
            </a:prstGeom>
          </p:spPr>
        </p:pic>
      </p:grp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E43BB7E3-9A4A-0F62-9BF9-8C67A483F63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1000" y="4547171"/>
            <a:ext cx="2286000" cy="740664"/>
          </a:xfrm>
        </p:spPr>
        <p:txBody>
          <a:bodyPr/>
          <a:lstStyle/>
          <a:p>
            <a:r>
              <a:rPr lang="en-US"/>
              <a:t>GenEd 2025 Survey Result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8B4739FD-3F61-84B2-3F4B-DE15A2ED07F5}"/>
              </a:ext>
            </a:extLst>
          </p:cNvPr>
          <p:cNvSpPr/>
          <p:nvPr/>
        </p:nvSpPr>
        <p:spPr>
          <a:xfrm>
            <a:off x="4253073" y="564434"/>
            <a:ext cx="2105247" cy="244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>
                <a:solidFill>
                  <a:schemeClr val="bg2">
                    <a:lumMod val="75000"/>
                  </a:schemeClr>
                </a:solidFill>
              </a:rPr>
              <a:t>Course Delivery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F4B966CE-F88C-0889-57A7-04991D62744D}"/>
              </a:ext>
            </a:extLst>
          </p:cNvPr>
          <p:cNvSpPr/>
          <p:nvPr/>
        </p:nvSpPr>
        <p:spPr>
          <a:xfrm>
            <a:off x="8865717" y="564434"/>
            <a:ext cx="2105247" cy="244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>
                <a:solidFill>
                  <a:schemeClr val="accent2"/>
                </a:solidFill>
              </a:rPr>
              <a:t>Cadet Learning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27FF39A-A865-4209-0C14-B87FBD04A4A3}"/>
              </a:ext>
            </a:extLst>
          </p:cNvPr>
          <p:cNvGrpSpPr/>
          <p:nvPr/>
        </p:nvGrpSpPr>
        <p:grpSpPr>
          <a:xfrm>
            <a:off x="6975057" y="852375"/>
            <a:ext cx="491303" cy="948782"/>
            <a:chOff x="6975057" y="852375"/>
            <a:chExt cx="491303" cy="948782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85FA920-A49E-00BD-67AF-DDD34A9B1859}"/>
                </a:ext>
              </a:extLst>
            </p:cNvPr>
            <p:cNvSpPr/>
            <p:nvPr/>
          </p:nvSpPr>
          <p:spPr>
            <a:xfrm>
              <a:off x="6975057" y="852375"/>
              <a:ext cx="491303" cy="94878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Calibri"/>
              </a:endParaRPr>
            </a:p>
          </p:txBody>
        </p:sp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EEAA3CB0-8B67-ED93-211A-12C5D855B3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048500" y="1149027"/>
              <a:ext cx="355478" cy="355478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8241654-6166-83F7-94D7-14152F652D1D}"/>
              </a:ext>
            </a:extLst>
          </p:cNvPr>
          <p:cNvSpPr/>
          <p:nvPr/>
        </p:nvSpPr>
        <p:spPr>
          <a:xfrm>
            <a:off x="3048000" y="6412709"/>
            <a:ext cx="9144000" cy="44529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200" b="1" i="1">
                <a:solidFill>
                  <a:schemeClr val="tx1"/>
                </a:solidFill>
              </a:rPr>
              <a:t>Academic Partners have suggested increased cross-AP collaboration throughout course delivery for continuous alignment to address feedback throughout the semester</a:t>
            </a:r>
          </a:p>
        </p:txBody>
      </p:sp>
    </p:spTree>
    <p:extLst>
      <p:ext uri="{BB962C8B-B14F-4D97-AF65-F5344CB8AC3E}">
        <p14:creationId xmlns:p14="http://schemas.microsoft.com/office/powerpoint/2010/main" val="18824157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8F76F06C-340B-BE52-225E-25A2577BBC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252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76F06C-340B-BE52-225E-25A2577BB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19E7E-1878-9202-A44C-76AFFB22B2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708" y="389713"/>
            <a:ext cx="9452791" cy="553998"/>
          </a:xfrm>
        </p:spPr>
        <p:txBody>
          <a:bodyPr vert="horz"/>
          <a:lstStyle/>
          <a:p>
            <a:r>
              <a:rPr lang="en-US"/>
              <a:t>Next steps include briefing ZMU Leadership on IOC GenEd, updating ENG1 and ENG2 course curriculum and finalizing 2026 piloted courses curricula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49C830-E58B-2142-E967-6202A452F2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Source: ZM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EF527C-630B-B8DB-F5D2-B073F31CCC5C}"/>
              </a:ext>
            </a:extLst>
          </p:cNvPr>
          <p:cNvSpPr/>
          <p:nvPr/>
        </p:nvSpPr>
        <p:spPr>
          <a:xfrm>
            <a:off x="3176" y="1314702"/>
            <a:ext cx="12188824" cy="5153585"/>
          </a:xfrm>
          <a:prstGeom prst="rect">
            <a:avLst/>
          </a:prstGeom>
          <a:solidFill>
            <a:srgbClr val="F5F5F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54BB8A1-D425-B4BB-9376-C22406CAE7CE}"/>
              </a:ext>
            </a:extLst>
          </p:cNvPr>
          <p:cNvSpPr/>
          <p:nvPr/>
        </p:nvSpPr>
        <p:spPr>
          <a:xfrm>
            <a:off x="3176" y="1314702"/>
            <a:ext cx="12188824" cy="425747"/>
          </a:xfrm>
          <a:prstGeom prst="rect">
            <a:avLst/>
          </a:prstGeom>
          <a:solidFill>
            <a:srgbClr val="3E4CA0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9" tIns="72009" rIns="72009" bIns="72009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xt Steps</a:t>
            </a:r>
            <a:endParaRPr kumimoji="0" lang="en-GB" sz="1400" b="1" i="1" u="none" strike="noStrike" kern="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58A9F5A-D2C2-924B-95FA-CA19B1263F98}"/>
              </a:ext>
            </a:extLst>
          </p:cNvPr>
          <p:cNvSpPr/>
          <p:nvPr/>
        </p:nvSpPr>
        <p:spPr>
          <a:xfrm>
            <a:off x="7295059" y="4291315"/>
            <a:ext cx="2120646" cy="1096916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3D9F792-EC6A-2AEA-9084-18E43C6F0107}"/>
              </a:ext>
            </a:extLst>
          </p:cNvPr>
          <p:cNvCxnSpPr>
            <a:cxnSpLocks/>
          </p:cNvCxnSpPr>
          <p:nvPr/>
        </p:nvCxnSpPr>
        <p:spPr>
          <a:xfrm>
            <a:off x="2734947" y="3296486"/>
            <a:ext cx="2416514" cy="0"/>
          </a:xfrm>
          <a:prstGeom prst="line">
            <a:avLst/>
          </a:prstGeom>
          <a:noFill/>
          <a:ln w="28575" cap="flat" cmpd="sng" algn="ctr">
            <a:solidFill>
              <a:srgbClr val="1E1E1E"/>
            </a:solidFill>
            <a:prstDash val="solid"/>
            <a:miter lim="800000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834554D-95D9-FEFB-4951-D28D048BEE66}"/>
              </a:ext>
            </a:extLst>
          </p:cNvPr>
          <p:cNvCxnSpPr>
            <a:cxnSpLocks/>
          </p:cNvCxnSpPr>
          <p:nvPr/>
        </p:nvCxnSpPr>
        <p:spPr>
          <a:xfrm>
            <a:off x="6924864" y="3294643"/>
            <a:ext cx="2413945" cy="0"/>
          </a:xfrm>
          <a:prstGeom prst="line">
            <a:avLst/>
          </a:prstGeom>
          <a:noFill/>
          <a:ln w="28575" cap="flat" cmpd="sng" algn="ctr">
            <a:solidFill>
              <a:srgbClr val="1E1E1E"/>
            </a:solidFill>
            <a:prstDash val="solid"/>
            <a:miter lim="800000"/>
          </a:ln>
          <a:effectLst/>
        </p:spPr>
      </p:cxnSp>
      <p:sp>
        <p:nvSpPr>
          <p:cNvPr id="11" name="Title 2">
            <a:extLst>
              <a:ext uri="{FF2B5EF4-FFF2-40B4-BE49-F238E27FC236}">
                <a16:creationId xmlns:a16="http://schemas.microsoft.com/office/drawing/2014/main" id="{54790BE3-EC95-9103-DA3D-F721B7F0C130}"/>
              </a:ext>
            </a:extLst>
          </p:cNvPr>
          <p:cNvSpPr txBox="1">
            <a:spLocks/>
          </p:cNvSpPr>
          <p:nvPr/>
        </p:nvSpPr>
        <p:spPr>
          <a:xfrm>
            <a:off x="3993291" y="4626743"/>
            <a:ext cx="3931898" cy="747897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0" algn="r" defTabSz="685818" rtl="1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rgbClr val="F6A21A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>
              <a:defRPr/>
            </a:pPr>
            <a:r>
              <a:rPr lang="en-US" sz="1800" b="0">
                <a:solidFill>
                  <a:srgbClr val="1E1E1E"/>
                </a:solidFill>
                <a:cs typeface="Arial"/>
              </a:rPr>
              <a:t>Finalize </a:t>
            </a:r>
            <a:r>
              <a:rPr lang="en-US" sz="1800">
                <a:solidFill>
                  <a:srgbClr val="1E1E1E"/>
                </a:solidFill>
                <a:cs typeface="Arial"/>
              </a:rPr>
              <a:t>English 1 and English 2 Curriculum </a:t>
            </a:r>
            <a:r>
              <a:rPr lang="en-US" sz="1800" b="0">
                <a:solidFill>
                  <a:srgbClr val="1E1E1E"/>
                </a:solidFill>
                <a:cs typeface="Arial"/>
              </a:rPr>
              <a:t>based on </a:t>
            </a:r>
            <a:r>
              <a:rPr lang="en-US" sz="1800">
                <a:solidFill>
                  <a:srgbClr val="1E1E1E"/>
                </a:solidFill>
                <a:cs typeface="Arial"/>
              </a:rPr>
              <a:t>faculty feedback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FEA24C8-1EF7-4C7C-AED7-C71E736BBB11}"/>
              </a:ext>
            </a:extLst>
          </p:cNvPr>
          <p:cNvSpPr/>
          <p:nvPr/>
        </p:nvSpPr>
        <p:spPr>
          <a:xfrm>
            <a:off x="9338809" y="2299081"/>
            <a:ext cx="1773494" cy="1994811"/>
          </a:xfrm>
          <a:custGeom>
            <a:avLst/>
            <a:gdLst>
              <a:gd name="connsiteX0" fmla="*/ 666192 w 1332452"/>
              <a:gd name="connsiteY0" fmla="*/ 0 h 1498731"/>
              <a:gd name="connsiteX1" fmla="*/ 1332384 w 1332452"/>
              <a:gd name="connsiteY1" fmla="*/ 666192 h 1498731"/>
              <a:gd name="connsiteX2" fmla="*/ 666192 w 1332452"/>
              <a:gd name="connsiteY2" fmla="*/ 1498731 h 1498731"/>
              <a:gd name="connsiteX3" fmla="*/ 0 w 1332452"/>
              <a:gd name="connsiteY3" fmla="*/ 666192 h 1498731"/>
              <a:gd name="connsiteX4" fmla="*/ 666192 w 1332452"/>
              <a:gd name="connsiteY4" fmla="*/ 0 h 1498731"/>
              <a:gd name="connsiteX5" fmla="*/ 666192 w 1332452"/>
              <a:gd name="connsiteY5" fmla="*/ 0 h 1498731"/>
              <a:gd name="connsiteX6" fmla="*/ 666251 w 1332452"/>
              <a:gd name="connsiteY6" fmla="*/ 188991 h 1498731"/>
              <a:gd name="connsiteX7" fmla="*/ 1138936 w 1332452"/>
              <a:gd name="connsiteY7" fmla="*/ 661675 h 1498731"/>
              <a:gd name="connsiteX8" fmla="*/ 666251 w 1332452"/>
              <a:gd name="connsiteY8" fmla="*/ 1134360 h 1498731"/>
              <a:gd name="connsiteX9" fmla="*/ 193537 w 1332452"/>
              <a:gd name="connsiteY9" fmla="*/ 661675 h 1498731"/>
              <a:gd name="connsiteX10" fmla="*/ 666251 w 1332452"/>
              <a:gd name="connsiteY10" fmla="*/ 188991 h 1498731"/>
              <a:gd name="connsiteX11" fmla="*/ 666251 w 1332452"/>
              <a:gd name="connsiteY11" fmla="*/ 188991 h 1498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32452" h="1498731">
                <a:moveTo>
                  <a:pt x="666192" y="0"/>
                </a:moveTo>
                <a:cubicBezTo>
                  <a:pt x="1034129" y="0"/>
                  <a:pt x="1327035" y="298314"/>
                  <a:pt x="1332384" y="666192"/>
                </a:cubicBezTo>
                <a:cubicBezTo>
                  <a:pt x="1340139" y="1196792"/>
                  <a:pt x="690053" y="1498731"/>
                  <a:pt x="666192" y="1498731"/>
                </a:cubicBezTo>
                <a:cubicBezTo>
                  <a:pt x="640518" y="1498731"/>
                  <a:pt x="0" y="1142591"/>
                  <a:pt x="0" y="666192"/>
                </a:cubicBezTo>
                <a:cubicBezTo>
                  <a:pt x="0" y="298284"/>
                  <a:pt x="298254" y="0"/>
                  <a:pt x="666192" y="0"/>
                </a:cubicBezTo>
                <a:lnTo>
                  <a:pt x="666192" y="0"/>
                </a:lnTo>
                <a:close/>
                <a:moveTo>
                  <a:pt x="666251" y="188991"/>
                </a:moveTo>
                <a:cubicBezTo>
                  <a:pt x="927302" y="188991"/>
                  <a:pt x="1138936" y="400624"/>
                  <a:pt x="1138936" y="661675"/>
                </a:cubicBezTo>
                <a:cubicBezTo>
                  <a:pt x="1138936" y="922726"/>
                  <a:pt x="927302" y="1134360"/>
                  <a:pt x="666251" y="1134360"/>
                </a:cubicBezTo>
                <a:cubicBezTo>
                  <a:pt x="405201" y="1134360"/>
                  <a:pt x="193537" y="922756"/>
                  <a:pt x="193537" y="661675"/>
                </a:cubicBezTo>
                <a:cubicBezTo>
                  <a:pt x="193537" y="400624"/>
                  <a:pt x="405171" y="188991"/>
                  <a:pt x="666251" y="188991"/>
                </a:cubicBezTo>
                <a:lnTo>
                  <a:pt x="666251" y="188991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297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C32BD785-2686-426E-8341-3E4CFA677FEB}"/>
              </a:ext>
            </a:extLst>
          </p:cNvPr>
          <p:cNvSpPr txBox="1">
            <a:spLocks/>
          </p:cNvSpPr>
          <p:nvPr/>
        </p:nvSpPr>
        <p:spPr>
          <a:xfrm>
            <a:off x="8521656" y="4626743"/>
            <a:ext cx="3415260" cy="747897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0" algn="r" defTabSz="685818" rtl="1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rgbClr val="F6A21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lign </a:t>
            </a:r>
            <a:r>
              <a:rPr lang="en-US" sz="1800">
                <a:solidFill>
                  <a:srgbClr val="000000"/>
                </a:solidFill>
                <a:latin typeface="Arial" panose="020B0604020202020204"/>
              </a:rPr>
              <a:t>with Academic Partners on final curriculum </a:t>
            </a:r>
            <a:r>
              <a:rPr lang="en-US" sz="1800" b="0">
                <a:solidFill>
                  <a:srgbClr val="000000"/>
                </a:solidFill>
                <a:latin typeface="Arial" panose="020B0604020202020204"/>
              </a:rPr>
              <a:t>for Emirati Studies and Philosophy</a:t>
            </a: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6A6B4CE-1B9B-50A7-E26B-DC9D19831E71}"/>
              </a:ext>
            </a:extLst>
          </p:cNvPr>
          <p:cNvSpPr/>
          <p:nvPr/>
        </p:nvSpPr>
        <p:spPr>
          <a:xfrm>
            <a:off x="5151461" y="2299081"/>
            <a:ext cx="1773494" cy="1994811"/>
          </a:xfrm>
          <a:custGeom>
            <a:avLst/>
            <a:gdLst>
              <a:gd name="connsiteX0" fmla="*/ 666192 w 1332452"/>
              <a:gd name="connsiteY0" fmla="*/ 0 h 1498731"/>
              <a:gd name="connsiteX1" fmla="*/ 1332384 w 1332452"/>
              <a:gd name="connsiteY1" fmla="*/ 666192 h 1498731"/>
              <a:gd name="connsiteX2" fmla="*/ 666192 w 1332452"/>
              <a:gd name="connsiteY2" fmla="*/ 1498731 h 1498731"/>
              <a:gd name="connsiteX3" fmla="*/ 0 w 1332452"/>
              <a:gd name="connsiteY3" fmla="*/ 666192 h 1498731"/>
              <a:gd name="connsiteX4" fmla="*/ 666192 w 1332452"/>
              <a:gd name="connsiteY4" fmla="*/ 0 h 1498731"/>
              <a:gd name="connsiteX5" fmla="*/ 666192 w 1332452"/>
              <a:gd name="connsiteY5" fmla="*/ 0 h 1498731"/>
              <a:gd name="connsiteX6" fmla="*/ 666222 w 1332452"/>
              <a:gd name="connsiteY6" fmla="*/ 188991 h 1498731"/>
              <a:gd name="connsiteX7" fmla="*/ 1138906 w 1332452"/>
              <a:gd name="connsiteY7" fmla="*/ 661675 h 1498731"/>
              <a:gd name="connsiteX8" fmla="*/ 666222 w 1332452"/>
              <a:gd name="connsiteY8" fmla="*/ 1134360 h 1498731"/>
              <a:gd name="connsiteX9" fmla="*/ 193537 w 1332452"/>
              <a:gd name="connsiteY9" fmla="*/ 661675 h 1498731"/>
              <a:gd name="connsiteX10" fmla="*/ 666222 w 1332452"/>
              <a:gd name="connsiteY10" fmla="*/ 188991 h 1498731"/>
              <a:gd name="connsiteX11" fmla="*/ 666222 w 1332452"/>
              <a:gd name="connsiteY11" fmla="*/ 188991 h 1498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32452" h="1498731">
                <a:moveTo>
                  <a:pt x="666192" y="0"/>
                </a:moveTo>
                <a:cubicBezTo>
                  <a:pt x="1034129" y="0"/>
                  <a:pt x="1327035" y="298314"/>
                  <a:pt x="1332384" y="666192"/>
                </a:cubicBezTo>
                <a:cubicBezTo>
                  <a:pt x="1340140" y="1196792"/>
                  <a:pt x="690083" y="1498731"/>
                  <a:pt x="666192" y="1498731"/>
                </a:cubicBezTo>
                <a:cubicBezTo>
                  <a:pt x="640518" y="1498731"/>
                  <a:pt x="0" y="1142591"/>
                  <a:pt x="0" y="666192"/>
                </a:cubicBezTo>
                <a:cubicBezTo>
                  <a:pt x="0" y="298284"/>
                  <a:pt x="298254" y="0"/>
                  <a:pt x="666192" y="0"/>
                </a:cubicBezTo>
                <a:lnTo>
                  <a:pt x="666192" y="0"/>
                </a:lnTo>
                <a:close/>
                <a:moveTo>
                  <a:pt x="666222" y="188991"/>
                </a:moveTo>
                <a:cubicBezTo>
                  <a:pt x="927272" y="188991"/>
                  <a:pt x="1138906" y="400624"/>
                  <a:pt x="1138906" y="661675"/>
                </a:cubicBezTo>
                <a:cubicBezTo>
                  <a:pt x="1138906" y="922726"/>
                  <a:pt x="927272" y="1134360"/>
                  <a:pt x="666222" y="1134360"/>
                </a:cubicBezTo>
                <a:cubicBezTo>
                  <a:pt x="405171" y="1134360"/>
                  <a:pt x="193537" y="922726"/>
                  <a:pt x="193537" y="661675"/>
                </a:cubicBezTo>
                <a:cubicBezTo>
                  <a:pt x="193537" y="400624"/>
                  <a:pt x="405171" y="188991"/>
                  <a:pt x="666222" y="188991"/>
                </a:cubicBezTo>
                <a:lnTo>
                  <a:pt x="666222" y="188991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297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7684DBAA-ADA1-7DBE-C3C4-5DB6F970B60A}"/>
              </a:ext>
            </a:extLst>
          </p:cNvPr>
          <p:cNvSpPr txBox="1">
            <a:spLocks/>
          </p:cNvSpPr>
          <p:nvPr/>
        </p:nvSpPr>
        <p:spPr>
          <a:xfrm>
            <a:off x="258261" y="4626743"/>
            <a:ext cx="3104782" cy="747897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0" algn="r" defTabSz="685818" rtl="1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rgbClr val="F6A21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>
                <a:solidFill>
                  <a:srgbClr val="1E1E1E"/>
                </a:solidFill>
                <a:latin typeface="Arial" panose="020B0604020202020204"/>
                <a:cs typeface="Arial"/>
              </a:rPr>
              <a:t>Brief </a:t>
            </a:r>
            <a:r>
              <a:rPr lang="en-US" sz="1800">
                <a:solidFill>
                  <a:srgbClr val="1E1E1E"/>
                </a:solidFill>
                <a:latin typeface="Arial" panose="020B0604020202020204"/>
                <a:cs typeface="Arial"/>
              </a:rPr>
              <a:t>ZMU Leadership </a:t>
            </a:r>
            <a:r>
              <a:rPr lang="en-US" sz="1800" b="0">
                <a:solidFill>
                  <a:srgbClr val="1E1E1E"/>
                </a:solidFill>
                <a:latin typeface="Arial" panose="020B0604020202020204"/>
                <a:cs typeface="Arial"/>
              </a:rPr>
              <a:t>on IOC GenEd </a:t>
            </a:r>
            <a:r>
              <a:rPr lang="en-US" sz="1800">
                <a:solidFill>
                  <a:srgbClr val="1E1E1E"/>
                </a:solidFill>
                <a:latin typeface="Arial" panose="020B0604020202020204"/>
                <a:cs typeface="Arial"/>
              </a:rPr>
              <a:t>update and refinements</a:t>
            </a: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j-ea"/>
              <a:cs typeface="Arial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8A465BF-8678-E98E-C58D-E1BED8E1A7D5}"/>
              </a:ext>
            </a:extLst>
          </p:cNvPr>
          <p:cNvSpPr/>
          <p:nvPr/>
        </p:nvSpPr>
        <p:spPr>
          <a:xfrm>
            <a:off x="956809" y="2299081"/>
            <a:ext cx="1773494" cy="1994811"/>
          </a:xfrm>
          <a:custGeom>
            <a:avLst/>
            <a:gdLst>
              <a:gd name="connsiteX0" fmla="*/ 666192 w 1332452"/>
              <a:gd name="connsiteY0" fmla="*/ 0 h 1498731"/>
              <a:gd name="connsiteX1" fmla="*/ 1332384 w 1332452"/>
              <a:gd name="connsiteY1" fmla="*/ 666192 h 1498731"/>
              <a:gd name="connsiteX2" fmla="*/ 666192 w 1332452"/>
              <a:gd name="connsiteY2" fmla="*/ 1498731 h 1498731"/>
              <a:gd name="connsiteX3" fmla="*/ 0 w 1332452"/>
              <a:gd name="connsiteY3" fmla="*/ 666192 h 1498731"/>
              <a:gd name="connsiteX4" fmla="*/ 666192 w 1332452"/>
              <a:gd name="connsiteY4" fmla="*/ 0 h 1498731"/>
              <a:gd name="connsiteX5" fmla="*/ 666192 w 1332452"/>
              <a:gd name="connsiteY5" fmla="*/ 0 h 1498731"/>
              <a:gd name="connsiteX6" fmla="*/ 666221 w 1332452"/>
              <a:gd name="connsiteY6" fmla="*/ 188991 h 1498731"/>
              <a:gd name="connsiteX7" fmla="*/ 1138906 w 1332452"/>
              <a:gd name="connsiteY7" fmla="*/ 661675 h 1498731"/>
              <a:gd name="connsiteX8" fmla="*/ 666221 w 1332452"/>
              <a:gd name="connsiteY8" fmla="*/ 1134360 h 1498731"/>
              <a:gd name="connsiteX9" fmla="*/ 193537 w 1332452"/>
              <a:gd name="connsiteY9" fmla="*/ 661675 h 1498731"/>
              <a:gd name="connsiteX10" fmla="*/ 666221 w 1332452"/>
              <a:gd name="connsiteY10" fmla="*/ 188991 h 1498731"/>
              <a:gd name="connsiteX11" fmla="*/ 666221 w 1332452"/>
              <a:gd name="connsiteY11" fmla="*/ 188991 h 1498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32452" h="1498731">
                <a:moveTo>
                  <a:pt x="666192" y="0"/>
                </a:moveTo>
                <a:cubicBezTo>
                  <a:pt x="1034099" y="0"/>
                  <a:pt x="1327035" y="298314"/>
                  <a:pt x="1332384" y="666192"/>
                </a:cubicBezTo>
                <a:cubicBezTo>
                  <a:pt x="1340139" y="1196792"/>
                  <a:pt x="690053" y="1498731"/>
                  <a:pt x="666192" y="1498731"/>
                </a:cubicBezTo>
                <a:cubicBezTo>
                  <a:pt x="640488" y="1498731"/>
                  <a:pt x="0" y="1142591"/>
                  <a:pt x="0" y="666192"/>
                </a:cubicBezTo>
                <a:cubicBezTo>
                  <a:pt x="0" y="298284"/>
                  <a:pt x="298254" y="0"/>
                  <a:pt x="666192" y="0"/>
                </a:cubicBezTo>
                <a:lnTo>
                  <a:pt x="666192" y="0"/>
                </a:lnTo>
                <a:close/>
                <a:moveTo>
                  <a:pt x="666221" y="188991"/>
                </a:moveTo>
                <a:cubicBezTo>
                  <a:pt x="927272" y="188991"/>
                  <a:pt x="1138906" y="400624"/>
                  <a:pt x="1138906" y="661675"/>
                </a:cubicBezTo>
                <a:cubicBezTo>
                  <a:pt x="1138906" y="922726"/>
                  <a:pt x="927272" y="1134360"/>
                  <a:pt x="666221" y="1134360"/>
                </a:cubicBezTo>
                <a:cubicBezTo>
                  <a:pt x="405171" y="1134360"/>
                  <a:pt x="193537" y="922726"/>
                  <a:pt x="193537" y="661675"/>
                </a:cubicBezTo>
                <a:cubicBezTo>
                  <a:pt x="193537" y="400624"/>
                  <a:pt x="405171" y="188991"/>
                  <a:pt x="666221" y="188991"/>
                </a:cubicBezTo>
                <a:lnTo>
                  <a:pt x="666221" y="188991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297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09D552A-1555-7682-AD4F-0F80B4EF519B}"/>
              </a:ext>
            </a:extLst>
          </p:cNvPr>
          <p:cNvSpPr/>
          <p:nvPr/>
        </p:nvSpPr>
        <p:spPr>
          <a:xfrm>
            <a:off x="1460500" y="2819400"/>
            <a:ext cx="762000" cy="7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2009" rIns="0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A3B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ep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3A3B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3A3B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5EABCF-9B81-1794-0D54-381F2F69AC39}"/>
              </a:ext>
            </a:extLst>
          </p:cNvPr>
          <p:cNvSpPr/>
          <p:nvPr/>
        </p:nvSpPr>
        <p:spPr>
          <a:xfrm>
            <a:off x="5651500" y="2857500"/>
            <a:ext cx="762000" cy="7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2009" rIns="0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A3B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ep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3A3B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3A3B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D09471-C902-D254-BF48-DE18DA6B83C2}"/>
              </a:ext>
            </a:extLst>
          </p:cNvPr>
          <p:cNvSpPr/>
          <p:nvPr/>
        </p:nvSpPr>
        <p:spPr>
          <a:xfrm>
            <a:off x="9842500" y="2819400"/>
            <a:ext cx="762000" cy="7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2009" rIns="0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A3B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ep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3A3B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3A3B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17450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15667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1F8654-25E8-7226-71CD-F18F11E635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Appendix</a:t>
            </a:r>
          </a:p>
          <a:p>
            <a:pPr marL="457200" indent="-457200">
              <a:buClr>
                <a:srgbClr val="C4996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/>
              <a:t>ZMU General Education Working Group Overview</a:t>
            </a:r>
          </a:p>
          <a:p>
            <a:pPr marL="457200" indent="-457200">
              <a:buClr>
                <a:srgbClr val="C4996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/>
              <a:t>ZMU GenEd Course Curriculum</a:t>
            </a:r>
          </a:p>
        </p:txBody>
      </p:sp>
    </p:spTree>
    <p:extLst>
      <p:ext uri="{BB962C8B-B14F-4D97-AF65-F5344CB8AC3E}">
        <p14:creationId xmlns:p14="http://schemas.microsoft.com/office/powerpoint/2010/main" val="18299993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23B837-DB7B-5704-C0E2-701642649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94C89B-2C55-09FB-F5E7-43E96C0C8F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Appendix</a:t>
            </a:r>
          </a:p>
          <a:p>
            <a:pPr marL="457200" indent="-457200">
              <a:buClr>
                <a:srgbClr val="C4996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/>
              <a:t>ZMU General Education Working Group Overview</a:t>
            </a:r>
          </a:p>
          <a:p>
            <a:pPr marL="457200" indent="-457200">
              <a:buClr>
                <a:srgbClr val="D9D9D9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>
                <a:solidFill>
                  <a:schemeClr val="bg1">
                    <a:lumMod val="85000"/>
                  </a:schemeClr>
                </a:solidFill>
              </a:rPr>
              <a:t>ZMU GenEd Course Curriculum</a:t>
            </a:r>
          </a:p>
        </p:txBody>
      </p:sp>
    </p:spTree>
    <p:extLst>
      <p:ext uri="{BB962C8B-B14F-4D97-AF65-F5344CB8AC3E}">
        <p14:creationId xmlns:p14="http://schemas.microsoft.com/office/powerpoint/2010/main" val="37761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6E7BBCE5-F924-338A-6436-5D3B16D36C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0911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7BBCE5-F924-338A-6436-5D3B16D36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B8653F-B5C7-460E-7CED-AFCEFF0B0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709" y="389713"/>
            <a:ext cx="8754291" cy="553998"/>
          </a:xfrm>
        </p:spPr>
        <p:txBody>
          <a:bodyPr vert="horz"/>
          <a:lstStyle/>
          <a:p>
            <a:r>
              <a:rPr lang="en-GB"/>
              <a:t>This document provides an overview of the ZMU GenEd program in addition to its IOC concept, curriculum and refinements</a:t>
            </a:r>
            <a:endParaRPr lang="en-US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D5721F91-3C2E-038F-506E-109C20A3540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/>
              <a:t>Source: ZMU</a:t>
            </a:r>
          </a:p>
        </p:txBody>
      </p:sp>
      <p:pic>
        <p:nvPicPr>
          <p:cNvPr id="4" name="Picture 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CB235A2-241D-F8C0-C926-5FA341F772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539" y="2805273"/>
            <a:ext cx="2649875" cy="2649875"/>
          </a:xfrm>
          <a:prstGeom prst="rect">
            <a:avLst/>
          </a:prstGeom>
        </p:spPr>
      </p:pic>
      <p:sp>
        <p:nvSpPr>
          <p:cNvPr id="5" name="Partial Circle 4">
            <a:extLst>
              <a:ext uri="{FF2B5EF4-FFF2-40B4-BE49-F238E27FC236}">
                <a16:creationId xmlns:a16="http://schemas.microsoft.com/office/drawing/2014/main" id="{86576062-EC4B-1CE3-5E8B-CA915B1D8C7F}"/>
              </a:ext>
            </a:extLst>
          </p:cNvPr>
          <p:cNvSpPr/>
          <p:nvPr/>
        </p:nvSpPr>
        <p:spPr>
          <a:xfrm flipH="1">
            <a:off x="90824" y="1693592"/>
            <a:ext cx="4873239" cy="4873239"/>
          </a:xfrm>
          <a:prstGeom prst="pie">
            <a:avLst>
              <a:gd name="adj1" fmla="val 5442827"/>
              <a:gd name="adj2" fmla="val 16200000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86000">
                <a:schemeClr val="tx2">
                  <a:lumMod val="20000"/>
                  <a:lumOff val="80000"/>
                  <a:alpha val="52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444073E-B19F-996A-AA4A-CCED40928CC1}"/>
              </a:ext>
            </a:extLst>
          </p:cNvPr>
          <p:cNvGrpSpPr/>
          <p:nvPr/>
        </p:nvGrpSpPr>
        <p:grpSpPr>
          <a:xfrm>
            <a:off x="5331102" y="1565962"/>
            <a:ext cx="6205965" cy="4927650"/>
            <a:chOff x="5331102" y="1565962"/>
            <a:chExt cx="6205965" cy="492765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3F94922-5741-E298-B945-B704ED658702}"/>
                </a:ext>
              </a:extLst>
            </p:cNvPr>
            <p:cNvCxnSpPr>
              <a:cxnSpLocks/>
            </p:cNvCxnSpPr>
            <p:nvPr/>
          </p:nvCxnSpPr>
          <p:spPr>
            <a:xfrm>
              <a:off x="5332288" y="2714321"/>
              <a:ext cx="5948737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5F052A4-73DC-E21C-4331-C85E4DF253E4}"/>
                </a:ext>
              </a:extLst>
            </p:cNvPr>
            <p:cNvGrpSpPr/>
            <p:nvPr/>
          </p:nvGrpSpPr>
          <p:grpSpPr>
            <a:xfrm>
              <a:off x="5331102" y="1565962"/>
              <a:ext cx="6205965" cy="981251"/>
              <a:chOff x="5331102" y="1744748"/>
              <a:chExt cx="6205965" cy="981251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11F40401-D3FE-0A13-3833-9AF22B2E7FAE}"/>
                  </a:ext>
                </a:extLst>
              </p:cNvPr>
              <p:cNvSpPr/>
              <p:nvPr/>
            </p:nvSpPr>
            <p:spPr>
              <a:xfrm>
                <a:off x="5331102" y="2008993"/>
                <a:ext cx="462055" cy="46205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9" tIns="72009" rIns="72009" bIns="72009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b="1">
                    <a:solidFill>
                      <a:schemeClr val="bg1"/>
                    </a:solidFill>
                  </a:rPr>
                  <a:t>1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C30701B3-8FC7-90F7-D839-E7AE9EC01011}"/>
                  </a:ext>
                </a:extLst>
              </p:cNvPr>
              <p:cNvSpPr/>
              <p:nvPr/>
            </p:nvSpPr>
            <p:spPr>
              <a:xfrm>
                <a:off x="5904156" y="1744748"/>
                <a:ext cx="5632911" cy="98125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9" tIns="72009" rIns="72009" bIns="72009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i="0" u="none" strike="noStrike" kern="1200" cap="none" spc="0" normalizeH="0" baseline="0" noProof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rovide</a:t>
                </a: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overview of ZMU General Education (GenEd) </a:t>
                </a:r>
                <a:r>
                  <a:rPr lang="en-US" b="1">
                    <a:solidFill>
                      <a:srgbClr val="1E1E1E"/>
                    </a:solidFill>
                    <a:latin typeface="Arial" panose="020B0604020202020204"/>
                  </a:rPr>
                  <a:t>Structure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E1E1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FAA38A2-AE1A-EFEB-13CA-0A97AB9303DC}"/>
                </a:ext>
              </a:extLst>
            </p:cNvPr>
            <p:cNvGrpSpPr/>
            <p:nvPr/>
          </p:nvGrpSpPr>
          <p:grpSpPr>
            <a:xfrm>
              <a:off x="5331102" y="2881429"/>
              <a:ext cx="6205965" cy="981251"/>
              <a:chOff x="5331102" y="4849008"/>
              <a:chExt cx="6205965" cy="981251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B5F62471-3C49-34AB-9A60-68B3F543C05D}"/>
                  </a:ext>
                </a:extLst>
              </p:cNvPr>
              <p:cNvSpPr/>
              <p:nvPr/>
            </p:nvSpPr>
            <p:spPr>
              <a:xfrm>
                <a:off x="5331102" y="5108606"/>
                <a:ext cx="462055" cy="46205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9" tIns="72009" rIns="72009" bIns="72009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b="1">
                    <a:solidFill>
                      <a:schemeClr val="bg1"/>
                    </a:solidFill>
                  </a:rPr>
                  <a:t>2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201C0A0-64C6-6F2E-3D5C-1DC172B1E711}"/>
                  </a:ext>
                </a:extLst>
              </p:cNvPr>
              <p:cNvSpPr/>
              <p:nvPr/>
            </p:nvSpPr>
            <p:spPr>
              <a:xfrm>
                <a:off x="5904156" y="4849008"/>
                <a:ext cx="5632911" cy="98125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9" tIns="72009" rIns="72009" bIns="72009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1E1E1E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i="0" u="none" strike="noStrike" kern="1200" cap="none" spc="0" normalizeH="0" baseline="0" noProof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efine </a:t>
                </a: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OC GenEd Concept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9F9CBDA-867F-C1A6-3118-125F0C887A14}"/>
                </a:ext>
              </a:extLst>
            </p:cNvPr>
            <p:cNvGrpSpPr/>
            <p:nvPr/>
          </p:nvGrpSpPr>
          <p:grpSpPr>
            <a:xfrm>
              <a:off x="5331102" y="4196896"/>
              <a:ext cx="6205965" cy="981251"/>
              <a:chOff x="5331102" y="4849008"/>
              <a:chExt cx="6205965" cy="981251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D121339B-9076-B868-0A6A-A327D844B3EE}"/>
                  </a:ext>
                </a:extLst>
              </p:cNvPr>
              <p:cNvSpPr/>
              <p:nvPr/>
            </p:nvSpPr>
            <p:spPr>
              <a:xfrm>
                <a:off x="5331102" y="5108606"/>
                <a:ext cx="462055" cy="46205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9" tIns="72009" rIns="72009" bIns="72009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b="1">
                    <a:solidFill>
                      <a:schemeClr val="bg1"/>
                    </a:solidFill>
                  </a:rPr>
                  <a:t>3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87AB39F-9CCE-9228-798C-00D31E01D9C0}"/>
                  </a:ext>
                </a:extLst>
              </p:cNvPr>
              <p:cNvSpPr/>
              <p:nvPr/>
            </p:nvSpPr>
            <p:spPr>
              <a:xfrm>
                <a:off x="5904156" y="4849008"/>
                <a:ext cx="5632911" cy="98125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9" tIns="72009" rIns="72009" bIns="72009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>
                    <a:solidFill>
                      <a:srgbClr val="000000"/>
                    </a:solidFill>
                    <a:latin typeface="Arial" panose="020B0604020202020204" pitchFamily="34" charset="0"/>
                  </a:rPr>
                  <a:t>Present </a:t>
                </a:r>
                <a:r>
                  <a:rPr lang="en-US" b="1">
                    <a:solidFill>
                      <a:srgbClr val="000000"/>
                    </a:solidFill>
                    <a:latin typeface="Arial" panose="020B0604020202020204" pitchFamily="34" charset="0"/>
                  </a:rPr>
                  <a:t>IOC GenEd Curriculum Overview</a:t>
                </a:r>
              </a:p>
            </p:txBody>
          </p:sp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78587B0-BB19-9993-6AC6-927A53872513}"/>
                </a:ext>
              </a:extLst>
            </p:cNvPr>
            <p:cNvCxnSpPr>
              <a:cxnSpLocks/>
            </p:cNvCxnSpPr>
            <p:nvPr/>
          </p:nvCxnSpPr>
          <p:spPr>
            <a:xfrm>
              <a:off x="5332288" y="4029788"/>
              <a:ext cx="5948737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2EEF5121-8ABD-49DD-59A1-2219223E40A7}"/>
                </a:ext>
              </a:extLst>
            </p:cNvPr>
            <p:cNvGrpSpPr/>
            <p:nvPr/>
          </p:nvGrpSpPr>
          <p:grpSpPr>
            <a:xfrm>
              <a:off x="5331102" y="5512361"/>
              <a:ext cx="6205965" cy="981251"/>
              <a:chOff x="5331102" y="4849008"/>
              <a:chExt cx="6205965" cy="981251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A496FEA-F808-5C10-3F4E-E4DE5B6CC712}"/>
                  </a:ext>
                </a:extLst>
              </p:cNvPr>
              <p:cNvSpPr/>
              <p:nvPr/>
            </p:nvSpPr>
            <p:spPr>
              <a:xfrm>
                <a:off x="5331102" y="5108606"/>
                <a:ext cx="462055" cy="46205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9" tIns="72009" rIns="72009" bIns="72009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b="1">
                    <a:solidFill>
                      <a:schemeClr val="bg1"/>
                    </a:solidFill>
                  </a:rPr>
                  <a:t>4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271BEC3-56FE-C8CF-CC13-A00C7DD9E111}"/>
                  </a:ext>
                </a:extLst>
              </p:cNvPr>
              <p:cNvSpPr/>
              <p:nvPr/>
            </p:nvSpPr>
            <p:spPr>
              <a:xfrm>
                <a:off x="5904156" y="4849008"/>
                <a:ext cx="5632911" cy="98125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9" tIns="72009" rIns="72009" bIns="72009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ts val="400"/>
                  </a:spcAft>
                  <a:buClr>
                    <a:srgbClr val="1E1E1E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i="0" u="none" strike="noStrike" kern="1200" cap="none" spc="0" normalizeH="0" baseline="0" noProof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iscuss </a:t>
                </a: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OC GenEd Feedback and Refinements</a:t>
                </a:r>
              </a:p>
            </p:txBody>
          </p:sp>
        </p:grp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B1C4480-0C11-22A9-8D9D-172CD53A5B9D}"/>
                </a:ext>
              </a:extLst>
            </p:cNvPr>
            <p:cNvCxnSpPr>
              <a:cxnSpLocks/>
            </p:cNvCxnSpPr>
            <p:nvPr/>
          </p:nvCxnSpPr>
          <p:spPr>
            <a:xfrm>
              <a:off x="5332288" y="5345255"/>
              <a:ext cx="5948737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81880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21BE54-607C-026F-E367-62273DF38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44EDDF5-48F8-D8C4-17F8-88E3093C52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4EDDF5-48F8-D8C4-17F8-88E3093C5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170FC0-F8F6-AAC8-CEFA-FAC081F332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ZMU General Education Curriculum (GenEd) Working Group has defined objectives and membership from all Academic Partn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6012AC-1FF9-1DB2-967E-3FC16C1D621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1000" y="4550664"/>
            <a:ext cx="2285999" cy="91234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rtlCol="0" anchor="b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Arial" panose="020B0604020202020204" pitchFamily="34" charset="0"/>
              </a:rPr>
              <a:t>Source: ZMU</a:t>
            </a:r>
          </a:p>
        </p:txBody>
      </p: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74DFB424-D3E1-46E6-7AC5-B6E0DA1C472D}"/>
              </a:ext>
            </a:extLst>
          </p:cNvPr>
          <p:cNvGraphicFramePr>
            <a:graphicFrameLocks noGrp="1"/>
          </p:cNvGraphicFramePr>
          <p:nvPr/>
        </p:nvGraphicFramePr>
        <p:xfrm>
          <a:off x="3051448" y="3526535"/>
          <a:ext cx="9150170" cy="2261617"/>
        </p:xfrm>
        <a:graphic>
          <a:graphicData uri="http://schemas.openxmlformats.org/drawingml/2006/table">
            <a:tbl>
              <a:tblPr firstRow="1" firstCol="1" bandRow="1"/>
              <a:tblGrid>
                <a:gridCol w="1830034">
                  <a:extLst>
                    <a:ext uri="{9D8B030D-6E8A-4147-A177-3AD203B41FA5}">
                      <a16:colId xmlns:a16="http://schemas.microsoft.com/office/drawing/2014/main" val="32356022"/>
                    </a:ext>
                  </a:extLst>
                </a:gridCol>
                <a:gridCol w="1830034">
                  <a:extLst>
                    <a:ext uri="{9D8B030D-6E8A-4147-A177-3AD203B41FA5}">
                      <a16:colId xmlns:a16="http://schemas.microsoft.com/office/drawing/2014/main" val="3488763655"/>
                    </a:ext>
                  </a:extLst>
                </a:gridCol>
                <a:gridCol w="1830034">
                  <a:extLst>
                    <a:ext uri="{9D8B030D-6E8A-4147-A177-3AD203B41FA5}">
                      <a16:colId xmlns:a16="http://schemas.microsoft.com/office/drawing/2014/main" val="3614728814"/>
                    </a:ext>
                  </a:extLst>
                </a:gridCol>
                <a:gridCol w="1830034">
                  <a:extLst>
                    <a:ext uri="{9D8B030D-6E8A-4147-A177-3AD203B41FA5}">
                      <a16:colId xmlns:a16="http://schemas.microsoft.com/office/drawing/2014/main" val="3801689054"/>
                    </a:ext>
                  </a:extLst>
                </a:gridCol>
                <a:gridCol w="1830034">
                  <a:extLst>
                    <a:ext uri="{9D8B030D-6E8A-4147-A177-3AD203B41FA5}">
                      <a16:colId xmlns:a16="http://schemas.microsoft.com/office/drawing/2014/main" val="464054278"/>
                    </a:ext>
                  </a:extLst>
                </a:gridCol>
              </a:tblGrid>
              <a:tr h="356734">
                <a:tc>
                  <a:txBody>
                    <a:bodyPr/>
                    <a:lstStyle/>
                    <a:p>
                      <a:pPr marL="0" marR="0" lvl="0" indent="0" algn="ctr" defTabSz="685818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ZMU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U</a:t>
                      </a:r>
                    </a:p>
                  </a:txBody>
                  <a:tcPr marL="7200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UAD</a:t>
                      </a:r>
                    </a:p>
                  </a:txBody>
                  <a:tcPr marL="7200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</a:t>
                      </a:r>
                    </a:p>
                  </a:txBody>
                  <a:tcPr marL="7200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her</a:t>
                      </a:r>
                    </a:p>
                  </a:txBody>
                  <a:tcPr marL="7200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8897028"/>
                  </a:ext>
                </a:extLst>
              </a:tr>
              <a:tr h="1904883">
                <a:tc>
                  <a:txBody>
                    <a:bodyPr/>
                    <a:lstStyle/>
                    <a:p>
                      <a:pPr marL="139700" marR="0" lvl="0" indent="-13970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. </a:t>
                      </a:r>
                      <a:r>
                        <a:rPr kumimoji="0" lang="en-US" sz="1100" b="1" i="0" u="none" strike="noStrike" kern="1200" cap="none" spc="0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amma</a:t>
                      </a:r>
                      <a:r>
                        <a:rPr kumimoji="0" lang="en-US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l </a:t>
                      </a:r>
                      <a:r>
                        <a:rPr kumimoji="0" lang="en-US" sz="1100" b="1" i="0" u="none" strike="noStrike" kern="1200" cap="none" spc="0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qbi</a:t>
                      </a:r>
                      <a:endParaRPr kumimoji="0" lang="en-US" sz="11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ZMU Directorate of Academic Affairs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39700" marR="0" lvl="0" indent="-13970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. Ted Burkett</a:t>
                      </a:r>
                    </a:p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Director, General Education Program)</a:t>
                      </a: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39700" marR="0" lvl="0" indent="-13970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covia</a:t>
                      </a:r>
                      <a:r>
                        <a:rPr kumimoji="0" lang="en-US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vard</a:t>
                      </a:r>
                    </a:p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Professor)</a:t>
                      </a:r>
                    </a:p>
                    <a:p>
                      <a:pPr marL="139700" marR="0" lvl="0" indent="-13970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elia Ouali</a:t>
                      </a:r>
                    </a:p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Professor)</a:t>
                      </a:r>
                    </a:p>
                    <a:p>
                      <a:pPr marL="139700" marR="0" lvl="0" indent="-13970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. Alexandra Dimitri</a:t>
                      </a:r>
                    </a:p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Project Lead ZMU)</a:t>
                      </a: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39700" marR="0" lvl="0" indent="-13970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. Deena </a:t>
                      </a:r>
                      <a:r>
                        <a:rPr kumimoji="0" lang="en-US" sz="1100" b="1" i="0" u="none" strike="noStrike" kern="1200" cap="none" spc="0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lsori</a:t>
                      </a:r>
                      <a:endParaRPr kumimoji="0" lang="en-US" sz="11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Program Chair, General Education)</a:t>
                      </a:r>
                    </a:p>
                    <a:p>
                      <a:pPr marL="139700" marR="0" lvl="0" indent="-13970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. Warren Chin</a:t>
                      </a:r>
                    </a:p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Program Chair, </a:t>
                      </a:r>
                      <a:r>
                        <a:rPr kumimoji="0" lang="en-US" sz="1100" b="0" i="0" u="none" strike="noStrike" kern="1200" cap="none" spc="0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fence</a:t>
                      </a:r>
                      <a:r>
                        <a:rPr kumimoji="0" lang="en-US" sz="11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 Security)</a:t>
                      </a: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E1E1E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Permanent Members may invite additional functional representatives or other support as needed based on meeting agenda</a:t>
                      </a: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353141"/>
                  </a:ext>
                </a:extLst>
              </a:tr>
            </a:tbl>
          </a:graphicData>
        </a:graphic>
      </p:graphicFrame>
      <p:grpSp>
        <p:nvGrpSpPr>
          <p:cNvPr id="35" name="Group 34">
            <a:extLst>
              <a:ext uri="{FF2B5EF4-FFF2-40B4-BE49-F238E27FC236}">
                <a16:creationId xmlns:a16="http://schemas.microsoft.com/office/drawing/2014/main" id="{3EF886F7-74C2-B70D-E0E7-F01F79CFC6D5}"/>
              </a:ext>
            </a:extLst>
          </p:cNvPr>
          <p:cNvGrpSpPr/>
          <p:nvPr/>
        </p:nvGrpSpPr>
        <p:grpSpPr>
          <a:xfrm>
            <a:off x="4510007" y="3040608"/>
            <a:ext cx="6233053" cy="401245"/>
            <a:chOff x="4262064" y="3369792"/>
            <a:chExt cx="6233053" cy="401245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BE1A747-3901-DC48-3E9C-38ECD9044BF7}"/>
                </a:ext>
              </a:extLst>
            </p:cNvPr>
            <p:cNvSpPr/>
            <p:nvPr/>
          </p:nvSpPr>
          <p:spPr>
            <a:xfrm>
              <a:off x="4262064" y="3369792"/>
              <a:ext cx="6233053" cy="40124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E1E1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mbership</a:t>
              </a: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9547BD8-7FDF-76F1-B834-17DED63BC862}"/>
                </a:ext>
              </a:extLst>
            </p:cNvPr>
            <p:cNvCxnSpPr>
              <a:cxnSpLocks/>
            </p:cNvCxnSpPr>
            <p:nvPr/>
          </p:nvCxnSpPr>
          <p:spPr>
            <a:xfrm>
              <a:off x="4262064" y="3727104"/>
              <a:ext cx="623305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4CEF6E0-8F85-3C3F-D7DB-D0323A93365A}"/>
              </a:ext>
            </a:extLst>
          </p:cNvPr>
          <p:cNvGrpSpPr/>
          <p:nvPr/>
        </p:nvGrpSpPr>
        <p:grpSpPr>
          <a:xfrm>
            <a:off x="4443182" y="254270"/>
            <a:ext cx="6366702" cy="2010276"/>
            <a:chOff x="3179099" y="254270"/>
            <a:chExt cx="3953221" cy="2010276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86E3E07A-ECC5-1B32-1F60-80D795E2D096}"/>
                </a:ext>
              </a:extLst>
            </p:cNvPr>
            <p:cNvGrpSpPr/>
            <p:nvPr/>
          </p:nvGrpSpPr>
          <p:grpSpPr>
            <a:xfrm>
              <a:off x="3718095" y="254270"/>
              <a:ext cx="3117696" cy="401245"/>
              <a:chOff x="3149126" y="2005155"/>
              <a:chExt cx="1828801" cy="488743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AB77F17-9845-629D-B1B1-10EBBA8326E8}"/>
                  </a:ext>
                </a:extLst>
              </p:cNvPr>
              <p:cNvSpPr/>
              <p:nvPr/>
            </p:nvSpPr>
            <p:spPr>
              <a:xfrm>
                <a:off x="3149127" y="2005155"/>
                <a:ext cx="1828800" cy="4887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ZMU </a:t>
                </a:r>
                <a:r>
                  <a:rPr kumimoji="0" lang="en-US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nEd</a:t>
                </a: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Objective</a:t>
                </a:r>
              </a:p>
            </p:txBody>
          </p: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C449B90C-2713-C93D-70A4-CBABAA169621}"/>
                  </a:ext>
                </a:extLst>
              </p:cNvPr>
              <p:cNvCxnSpPr/>
              <p:nvPr/>
            </p:nvCxnSpPr>
            <p:spPr>
              <a:xfrm>
                <a:off x="3149126" y="2440385"/>
                <a:ext cx="1828800" cy="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0FAFA1A-1F74-E9C6-9FAC-76D02F1BB506}"/>
                </a:ext>
              </a:extLst>
            </p:cNvPr>
            <p:cNvSpPr txBox="1"/>
            <p:nvPr/>
          </p:nvSpPr>
          <p:spPr>
            <a:xfrm>
              <a:off x="3179099" y="879551"/>
              <a:ext cx="3953221" cy="13849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To develop and implement a unified </a:t>
              </a: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eneral Education (GenEd) framework </a:t>
              </a:r>
              <a:r>
                <a:rPr kumimoji="0" lang="en-GB" sz="14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for </a:t>
              </a: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IOC and FOC</a:t>
              </a:r>
              <a:r>
                <a:rPr kumimoji="0" lang="en-GB" sz="14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that designs core curriculum for ZMU officer cadets and develop an </a:t>
              </a: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assessment and feedback framework</a:t>
              </a:r>
              <a:r>
                <a:rPr kumimoji="0" lang="en-GB" sz="14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for continuous improvement</a:t>
              </a:r>
              <a:endPara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8FC00DE-7474-FCE3-DFD3-183A52EA67A8}"/>
              </a:ext>
            </a:extLst>
          </p:cNvPr>
          <p:cNvSpPr txBox="1">
            <a:spLocks/>
          </p:cNvSpPr>
          <p:nvPr/>
        </p:nvSpPr>
        <p:spPr>
          <a:xfrm>
            <a:off x="381000" y="3810000"/>
            <a:ext cx="2286000" cy="740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b="1" kern="1200" noProof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2025 ZMU GenEd Working Group</a:t>
            </a:r>
          </a:p>
        </p:txBody>
      </p:sp>
    </p:spTree>
    <p:extLst>
      <p:ext uri="{BB962C8B-B14F-4D97-AF65-F5344CB8AC3E}">
        <p14:creationId xmlns:p14="http://schemas.microsoft.com/office/powerpoint/2010/main" val="38992255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D3EEDE-0B6D-382F-5FBD-98D9C08BFF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15D86C-3D4D-9E49-0B1C-DED8BBE555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Appendix</a:t>
            </a:r>
          </a:p>
          <a:p>
            <a:pPr marL="457200" indent="-457200">
              <a:buClr>
                <a:srgbClr val="D9D9D9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>
                <a:solidFill>
                  <a:schemeClr val="bg1">
                    <a:lumMod val="85000"/>
                  </a:schemeClr>
                </a:solidFill>
              </a:rPr>
              <a:t>ZMU General Education Working Group Overview</a:t>
            </a:r>
          </a:p>
          <a:p>
            <a:pPr marL="457200" indent="-457200">
              <a:buClr>
                <a:srgbClr val="C4996C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/>
              <a:t>ZMU GenEd Course Curriculum</a:t>
            </a:r>
          </a:p>
        </p:txBody>
      </p:sp>
    </p:spTree>
    <p:extLst>
      <p:ext uri="{BB962C8B-B14F-4D97-AF65-F5344CB8AC3E}">
        <p14:creationId xmlns:p14="http://schemas.microsoft.com/office/powerpoint/2010/main" val="31069182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F5BE1-6067-2874-30D0-7B114ABD5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2F1DCFC-A4B0-63B1-5D43-1E7D5E02D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147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F1DCFC-A4B0-63B1-5D43-1E7D5E02D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46B29ED9-9E65-507D-D673-4A54B7352A39}"/>
              </a:ext>
            </a:extLst>
          </p:cNvPr>
          <p:cNvSpPr txBox="1">
            <a:spLocks/>
          </p:cNvSpPr>
          <p:nvPr/>
        </p:nvSpPr>
        <p:spPr>
          <a:xfrm>
            <a:off x="389709" y="389713"/>
            <a:ext cx="9020991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English 1 builds clear, disciplined writing and early analytical skills essential for effective communication and leadership as future officer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57E5177-6013-B0D4-6241-3099B1A3DDCC}"/>
              </a:ext>
            </a:extLst>
          </p:cNvPr>
          <p:cNvSpPr/>
          <p:nvPr/>
        </p:nvSpPr>
        <p:spPr>
          <a:xfrm>
            <a:off x="8487838" y="1289205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“Sheikh Zayed: The Making of a Great Leader” (Gulf News, 2018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“In Praise of Followers” - Robert Kelley (HBR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“Why Emotional Intelligence Is Crucial for Effective Leadership” (Forbes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“Why Good Leaders Make You Feel Safe” - Simon Sinek (TED Talk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“Charisma in Politics” - Zsolt Feher (Science of Personality podcast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Excerpts from David Hackworth’s About Face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Excerpts from Anton </a:t>
            </a:r>
            <a:r>
              <a:rPr lang="en-US" sz="1200" err="1">
                <a:solidFill>
                  <a:srgbClr val="1E1E1E"/>
                </a:solidFill>
              </a:rPr>
              <a:t>Myrer’s</a:t>
            </a:r>
            <a:r>
              <a:rPr lang="en-US" sz="1200">
                <a:solidFill>
                  <a:srgbClr val="1E1E1E"/>
                </a:solidFill>
              </a:rPr>
              <a:t> Once an Eagl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C91E850-9A4A-F704-479A-C8E8D0646C28}"/>
              </a:ext>
            </a:extLst>
          </p:cNvPr>
          <p:cNvSpPr/>
          <p:nvPr/>
        </p:nvSpPr>
        <p:spPr>
          <a:xfrm>
            <a:off x="753545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Build foundational academic and professional military writing skills </a:t>
            </a:r>
            <a:r>
              <a:rPr lang="en-US" sz="1200">
                <a:solidFill>
                  <a:srgbClr val="1E1E1E"/>
                </a:solidFill>
              </a:rPr>
              <a:t>for clear communication as future officer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Develop leadership-focused expression</a:t>
            </a:r>
            <a:r>
              <a:rPr lang="en-US" sz="1200">
                <a:solidFill>
                  <a:srgbClr val="1E1E1E"/>
                </a:solidFill>
              </a:rPr>
              <a:t>, helping cadets articulate ideas with clarity, purpose, considering military communication norm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Strengthen early analytical reading and source-evaluation habits </a:t>
            </a:r>
            <a:r>
              <a:rPr lang="en-US" sz="1200">
                <a:solidFill>
                  <a:srgbClr val="1E1E1E"/>
                </a:solidFill>
              </a:rPr>
              <a:t>that support engagement with leadership and regional text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Encourage revision, reflection, and structured argumentation, </a:t>
            </a:r>
            <a:r>
              <a:rPr lang="en-US" sz="1200">
                <a:solidFill>
                  <a:srgbClr val="1E1E1E"/>
                </a:solidFill>
              </a:rPr>
              <a:t>preparing cadets for more complex writing, speaking, and briefing tasks in later course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Understand key principles of academic integrity </a:t>
            </a:r>
            <a:r>
              <a:rPr lang="en-US" sz="1200">
                <a:solidFill>
                  <a:srgbClr val="1E1E1E"/>
                </a:solidFill>
              </a:rPr>
              <a:t>in writing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lang="en-US" sz="1200">
              <a:solidFill>
                <a:srgbClr val="1E1E1E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BC9FE4B-66B2-8450-1AA4-7D62A2FD3504}"/>
              </a:ext>
            </a:extLst>
          </p:cNvPr>
          <p:cNvSpPr/>
          <p:nvPr/>
        </p:nvSpPr>
        <p:spPr>
          <a:xfrm>
            <a:off x="4626189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Express ideas with clarity and purpose across leadership genre</a:t>
            </a:r>
            <a:r>
              <a:rPr lang="en-US" sz="1200">
                <a:solidFill>
                  <a:srgbClr val="1E1E1E"/>
                </a:solidFill>
              </a:rPr>
              <a:t>, demonstrating analysis through written formats including brief reflections, personal leadership statements, and short explanatory piece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Analyze and contrast an array of writings </a:t>
            </a:r>
            <a:r>
              <a:rPr lang="en-US" sz="1200">
                <a:solidFill>
                  <a:srgbClr val="1E1E1E"/>
                </a:solidFill>
              </a:rPr>
              <a:t>and media on leadership</a:t>
            </a:r>
            <a:endParaRPr lang="en-US" sz="1200">
              <a:solidFill>
                <a:srgbClr val="1E1E1E"/>
              </a:solidFill>
              <a:cs typeface="Arial"/>
            </a:endParaRP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Summarize and interpret texts </a:t>
            </a:r>
            <a:r>
              <a:rPr lang="en-US" sz="1200">
                <a:solidFill>
                  <a:srgbClr val="1E1E1E"/>
                </a:solidFill>
              </a:rPr>
              <a:t>using accurate paraphrasing, key-idea identification, and </a:t>
            </a:r>
            <a:r>
              <a:rPr lang="en-US" sz="1200" b="1">
                <a:solidFill>
                  <a:srgbClr val="1E1E1E"/>
                </a:solidFill>
              </a:rPr>
              <a:t>early source-evaluation techniques </a:t>
            </a:r>
            <a:r>
              <a:rPr lang="en-US" sz="1200">
                <a:solidFill>
                  <a:srgbClr val="1E1E1E"/>
                </a:solidFill>
              </a:rPr>
              <a:t>appropriate for first-year cadets</a:t>
            </a:r>
            <a:endParaRPr lang="en-US" sz="1200">
              <a:solidFill>
                <a:srgbClr val="1E1E1E"/>
              </a:solidFill>
              <a:cs typeface="Arial" panose="020B0604020202020204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6CF6099-34E2-38EF-BB7C-0D148EF117C8}"/>
              </a:ext>
            </a:extLst>
          </p:cNvPr>
          <p:cNvSpPr/>
          <p:nvPr/>
        </p:nvSpPr>
        <p:spPr>
          <a:xfrm>
            <a:off x="10827459" y="0"/>
            <a:ext cx="1364541" cy="3168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en-US" sz="1000" b="1">
                <a:solidFill>
                  <a:schemeClr val="bg1"/>
                </a:solidFill>
              </a:rPr>
              <a:t>English 1 - Writing</a:t>
            </a:r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814F8312-B4C5-6C8B-C9B8-FD1B484D3CA4}"/>
              </a:ext>
            </a:extLst>
          </p:cNvPr>
          <p:cNvSpPr txBox="1">
            <a:spLocks/>
          </p:cNvSpPr>
          <p:nvPr/>
        </p:nvSpPr>
        <p:spPr>
          <a:xfrm>
            <a:off x="389709" y="6496471"/>
            <a:ext cx="5321345" cy="23728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lIns="0" tIns="0" rIns="0" bIns="0" anchor="b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Source: ZMU, Academic Partne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F373AA1-A1AB-AC97-AE26-92FAA389C5D8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Curriculum – English 1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FABA449-F665-92EB-ECA2-DEDF0843D864}"/>
              </a:ext>
            </a:extLst>
          </p:cNvPr>
          <p:cNvSpPr/>
          <p:nvPr/>
        </p:nvSpPr>
        <p:spPr>
          <a:xfrm>
            <a:off x="8269398" y="1613195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ding 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st for 2026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60561F1-58F0-25A4-1D6E-A8F353F71DC7}"/>
              </a:ext>
            </a:extLst>
          </p:cNvPr>
          <p:cNvSpPr/>
          <p:nvPr/>
        </p:nvSpPr>
        <p:spPr>
          <a:xfrm>
            <a:off x="546100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711E848-279C-138D-98B4-CF794F7EE6B3}"/>
              </a:ext>
            </a:extLst>
          </p:cNvPr>
          <p:cNvSpPr/>
          <p:nvPr/>
        </p:nvSpPr>
        <p:spPr>
          <a:xfrm>
            <a:off x="4407749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comes</a:t>
            </a: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AFF77BFB-EF3D-BD5F-9D78-E5C1219037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51175" y="1653660"/>
            <a:ext cx="758825" cy="758825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3AB4D12D-AE3C-53BE-C157-3F9ED1966A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2392" y="1653660"/>
            <a:ext cx="758825" cy="758825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D79C6759-2C75-48FF-C587-C0A38F5F7F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13608" y="1653660"/>
            <a:ext cx="758825" cy="758825"/>
          </a:xfrm>
          <a:prstGeom prst="rect">
            <a:avLst/>
          </a:prstGeom>
        </p:spPr>
      </p:pic>
      <p:sp>
        <p:nvSpPr>
          <p:cNvPr id="55" name="Right Triangle 54">
            <a:extLst>
              <a:ext uri="{FF2B5EF4-FFF2-40B4-BE49-F238E27FC236}">
                <a16:creationId xmlns:a16="http://schemas.microsoft.com/office/drawing/2014/main" id="{7C8FEB33-B760-B7C0-B323-7E8776AF9C35}"/>
              </a:ext>
            </a:extLst>
          </p:cNvPr>
          <p:cNvSpPr/>
          <p:nvPr/>
        </p:nvSpPr>
        <p:spPr>
          <a:xfrm>
            <a:off x="11424078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Right Triangle 55">
            <a:extLst>
              <a:ext uri="{FF2B5EF4-FFF2-40B4-BE49-F238E27FC236}">
                <a16:creationId xmlns:a16="http://schemas.microsoft.com/office/drawing/2014/main" id="{294E2701-1B01-5A65-11AE-FABB51E75A3B}"/>
              </a:ext>
            </a:extLst>
          </p:cNvPr>
          <p:cNvSpPr/>
          <p:nvPr/>
        </p:nvSpPr>
        <p:spPr>
          <a:xfrm rot="16200000">
            <a:off x="8278820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Right Triangle 56">
            <a:extLst>
              <a:ext uri="{FF2B5EF4-FFF2-40B4-BE49-F238E27FC236}">
                <a16:creationId xmlns:a16="http://schemas.microsoft.com/office/drawing/2014/main" id="{340E3D81-FDEE-1B2B-09E6-F1798FFAA24A}"/>
              </a:ext>
            </a:extLst>
          </p:cNvPr>
          <p:cNvSpPr/>
          <p:nvPr/>
        </p:nvSpPr>
        <p:spPr>
          <a:xfrm>
            <a:off x="3700780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Right Triangle 57">
            <a:extLst>
              <a:ext uri="{FF2B5EF4-FFF2-40B4-BE49-F238E27FC236}">
                <a16:creationId xmlns:a16="http://schemas.microsoft.com/office/drawing/2014/main" id="{B9F7A3E8-68AE-FA17-61AE-3A150A906C81}"/>
              </a:ext>
            </a:extLst>
          </p:cNvPr>
          <p:cNvSpPr/>
          <p:nvPr/>
        </p:nvSpPr>
        <p:spPr>
          <a:xfrm rot="16200000">
            <a:off x="555522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Right Triangle 58">
            <a:extLst>
              <a:ext uri="{FF2B5EF4-FFF2-40B4-BE49-F238E27FC236}">
                <a16:creationId xmlns:a16="http://schemas.microsoft.com/office/drawing/2014/main" id="{5852172C-4B77-49A5-1472-AC974E56A78F}"/>
              </a:ext>
            </a:extLst>
          </p:cNvPr>
          <p:cNvSpPr/>
          <p:nvPr/>
        </p:nvSpPr>
        <p:spPr>
          <a:xfrm>
            <a:off x="7562429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Right Triangle 59">
            <a:extLst>
              <a:ext uri="{FF2B5EF4-FFF2-40B4-BE49-F238E27FC236}">
                <a16:creationId xmlns:a16="http://schemas.microsoft.com/office/drawing/2014/main" id="{D3E59165-292A-D2C7-C1A2-08DCA9A3798A}"/>
              </a:ext>
            </a:extLst>
          </p:cNvPr>
          <p:cNvSpPr/>
          <p:nvPr/>
        </p:nvSpPr>
        <p:spPr>
          <a:xfrm rot="16200000">
            <a:off x="4417171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DC6021C-66AE-DDE1-904C-400A937D8E74}"/>
              </a:ext>
            </a:extLst>
          </p:cNvPr>
          <p:cNvSpPr/>
          <p:nvPr/>
        </p:nvSpPr>
        <p:spPr>
          <a:xfrm>
            <a:off x="9525614" y="995462"/>
            <a:ext cx="2286000" cy="152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n-Exhaustive</a:t>
            </a:r>
          </a:p>
        </p:txBody>
      </p:sp>
    </p:spTree>
    <p:extLst>
      <p:ext uri="{BB962C8B-B14F-4D97-AF65-F5344CB8AC3E}">
        <p14:creationId xmlns:p14="http://schemas.microsoft.com/office/powerpoint/2010/main" val="8042368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A68E15-0201-3F20-E501-89DA43E66B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18C0B0D-4AA6-C344-949F-31C270EAA7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3965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8C0B0D-4AA6-C344-949F-31C270EAA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C3D17435-26EC-9E84-85C3-0AB618C04C0D}"/>
              </a:ext>
            </a:extLst>
          </p:cNvPr>
          <p:cNvSpPr txBox="1">
            <a:spLocks/>
          </p:cNvSpPr>
          <p:nvPr/>
        </p:nvSpPr>
        <p:spPr>
          <a:xfrm>
            <a:off x="389709" y="389713"/>
            <a:ext cx="928106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English 2 </a:t>
            </a:r>
            <a:r>
              <a:rPr lang="en-US"/>
              <a:t>strengthens cadets’ ability to construct evidence-based, leadership-relevant writing for academic and military contexts</a:t>
            </a:r>
            <a:endParaRPr lang="en-US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4CC2F2-67E2-1F46-3EE4-4E86F112EE54}"/>
              </a:ext>
            </a:extLst>
          </p:cNvPr>
          <p:cNvSpPr/>
          <p:nvPr/>
        </p:nvSpPr>
        <p:spPr>
          <a:xfrm>
            <a:off x="10827459" y="0"/>
            <a:ext cx="1364541" cy="3168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en-US" sz="1000" b="1">
                <a:solidFill>
                  <a:schemeClr val="bg1"/>
                </a:solidFill>
              </a:rPr>
              <a:t>English 2 - Writing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D986D51A-3392-C26F-EB0D-C68589A8ED25}"/>
              </a:ext>
            </a:extLst>
          </p:cNvPr>
          <p:cNvSpPr txBox="1">
            <a:spLocks/>
          </p:cNvSpPr>
          <p:nvPr/>
        </p:nvSpPr>
        <p:spPr>
          <a:xfrm>
            <a:off x="389709" y="6496471"/>
            <a:ext cx="5321345" cy="23728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lIns="0" tIns="0" rIns="0" bIns="0" anchor="b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Source: ZMU, Academic Partner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6BD52A7-869E-81E9-EA09-2803A8F9C8AE}"/>
              </a:ext>
            </a:extLst>
          </p:cNvPr>
          <p:cNvSpPr/>
          <p:nvPr/>
        </p:nvSpPr>
        <p:spPr>
          <a:xfrm>
            <a:off x="8487838" y="1289205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Sheikh Mohammed's 10 Important Rules for Leadership” (Khaleej Times, 2019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Servant Leadership” - Admiral  Linda Fagan, </a:t>
            </a:r>
            <a:r>
              <a:rPr lang="en-US" sz="1200" err="1">
                <a:solidFill>
                  <a:srgbClr val="1E1E1E"/>
                </a:solidFill>
              </a:rPr>
              <a:t>ReThinking</a:t>
            </a:r>
            <a:r>
              <a:rPr lang="en-US" sz="1200">
                <a:solidFill>
                  <a:srgbClr val="1E1E1E"/>
                </a:solidFill>
              </a:rPr>
              <a:t> with Adam Grant podcast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Great Teams Are About Personalities, Not Just Skills” (HBR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Will Your Personality Make You a Successful Employee or Leader?” (Psychology Today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Transactional vs. Transformational Leadership” (Economic Times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The Study of Leadership Theories: Great Leaders Are Made, Not Born” (Law Practice Magazine)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263DE00-7502-A488-7FD7-C60D12456465}"/>
              </a:ext>
            </a:extLst>
          </p:cNvPr>
          <p:cNvSpPr/>
          <p:nvPr/>
        </p:nvSpPr>
        <p:spPr>
          <a:xfrm>
            <a:off x="753545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Strengthen cadets’ ability to </a:t>
            </a:r>
            <a:r>
              <a:rPr lang="en-US" sz="1200" b="1">
                <a:solidFill>
                  <a:srgbClr val="1E1E1E"/>
                </a:solidFill>
              </a:rPr>
              <a:t>construct clear, logical arguments </a:t>
            </a:r>
            <a:r>
              <a:rPr lang="en-US" sz="1200">
                <a:solidFill>
                  <a:srgbClr val="1E1E1E"/>
                </a:solidFill>
              </a:rPr>
              <a:t>supported by evidence and sound reasoning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Introduce rhetorical awareness and audience sensitivity </a:t>
            </a:r>
            <a:r>
              <a:rPr lang="en-US" sz="1200">
                <a:solidFill>
                  <a:srgbClr val="1E1E1E"/>
                </a:solidFill>
              </a:rPr>
              <a:t>through leadership- and military-relevant writing task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Deepen analytical reading skills</a:t>
            </a:r>
            <a:r>
              <a:rPr lang="en-US" sz="1200">
                <a:solidFill>
                  <a:srgbClr val="1E1E1E"/>
                </a:solidFill>
              </a:rPr>
              <a:t> by engaging with more complex texts, viewpoints, and varied source type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Develop disciplined research and source-integration practices </a:t>
            </a:r>
            <a:r>
              <a:rPr lang="en-US" sz="1200">
                <a:solidFill>
                  <a:srgbClr val="1E1E1E"/>
                </a:solidFill>
              </a:rPr>
              <a:t>through applied assignments, including expository writing and leadership-focused tasks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69505BA-2CED-1F36-2E43-AD90311D5AA0}"/>
              </a:ext>
            </a:extLst>
          </p:cNvPr>
          <p:cNvSpPr/>
          <p:nvPr/>
        </p:nvSpPr>
        <p:spPr>
          <a:xfrm>
            <a:off x="4626189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Write structured analytical essays </a:t>
            </a:r>
            <a:r>
              <a:rPr lang="en-US" sz="1200">
                <a:solidFill>
                  <a:srgbClr val="1E1E1E"/>
                </a:solidFill>
              </a:rPr>
              <a:t>presenting clear claims, coherent reasoning, and well-integrated evidence across multiple source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Produce writing that critically evaluates source credibility, </a:t>
            </a:r>
            <a:r>
              <a:rPr lang="en-US" sz="1200">
                <a:solidFill>
                  <a:srgbClr val="1E1E1E"/>
                </a:solidFill>
              </a:rPr>
              <a:t>assesses assumptions, and responds to counterarguments with clarity and discipline</a:t>
            </a:r>
            <a:endParaRPr lang="en-US" sz="1200">
              <a:solidFill>
                <a:srgbClr val="1E1E1E"/>
              </a:solidFill>
              <a:highlight>
                <a:srgbClr val="FFFF00"/>
              </a:highlight>
            </a:endParaRP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Apply</a:t>
            </a:r>
            <a:r>
              <a:rPr lang="en-US" sz="1200">
                <a:solidFill>
                  <a:srgbClr val="1E1E1E"/>
                </a:solidFill>
              </a:rPr>
              <a:t> </a:t>
            </a:r>
            <a:r>
              <a:rPr lang="en-US" sz="1200" b="1">
                <a:solidFill>
                  <a:srgbClr val="1E1E1E"/>
                </a:solidFill>
              </a:rPr>
              <a:t>persuasive and ethical communication skills </a:t>
            </a:r>
            <a:r>
              <a:rPr lang="en-US" sz="1200">
                <a:solidFill>
                  <a:srgbClr val="1E1E1E"/>
                </a:solidFill>
              </a:rPr>
              <a:t>in leadership-oriented genres, including expository responses</a:t>
            </a:r>
            <a:r>
              <a:rPr lang="en-US" sz="1200" b="1">
                <a:solidFill>
                  <a:srgbClr val="1E1E1E"/>
                </a:solidFill>
              </a:rPr>
              <a:t> </a:t>
            </a:r>
            <a:r>
              <a:rPr lang="en-US" sz="1200">
                <a:solidFill>
                  <a:srgbClr val="1E1E1E"/>
                </a:solidFill>
              </a:rPr>
              <a:t>to military scenarios and decision brief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BE84402-6F33-36FD-DA51-A7BF9E757694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Curriculum – English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AD1795F-FE22-F3D2-9CE8-25071C506575}"/>
              </a:ext>
            </a:extLst>
          </p:cNvPr>
          <p:cNvSpPr/>
          <p:nvPr/>
        </p:nvSpPr>
        <p:spPr>
          <a:xfrm>
            <a:off x="8269398" y="1613195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lvl="0">
              <a:lnSpc>
                <a:spcPct val="90000"/>
              </a:lnSpc>
              <a:defRPr/>
            </a:pPr>
            <a:r>
              <a:rPr lang="en-US" b="1">
                <a:solidFill>
                  <a:srgbClr val="FFFFFF"/>
                </a:solidFill>
              </a:rPr>
              <a:t>Reading </a:t>
            </a:r>
            <a:br>
              <a:rPr lang="en-US" b="1">
                <a:solidFill>
                  <a:srgbClr val="FFFFFF"/>
                </a:solidFill>
              </a:rPr>
            </a:br>
            <a:r>
              <a:rPr lang="en-US" b="1">
                <a:solidFill>
                  <a:srgbClr val="FFFFFF"/>
                </a:solidFill>
              </a:rPr>
              <a:t>List for 2026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938D289-CEA1-9C21-65D9-0D6D74AEC342}"/>
              </a:ext>
            </a:extLst>
          </p:cNvPr>
          <p:cNvSpPr/>
          <p:nvPr/>
        </p:nvSpPr>
        <p:spPr>
          <a:xfrm>
            <a:off x="546100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9E536EC-BD3A-D5DB-5B59-1DD88AEFBDB2}"/>
              </a:ext>
            </a:extLst>
          </p:cNvPr>
          <p:cNvSpPr/>
          <p:nvPr/>
        </p:nvSpPr>
        <p:spPr>
          <a:xfrm>
            <a:off x="4407749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comes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7B4DA40F-9326-5A48-3D92-46F5E5A9E4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51175" y="1653660"/>
            <a:ext cx="758825" cy="758825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5D0163FF-52B5-19FE-3220-44C8EB9596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2392" y="1653660"/>
            <a:ext cx="758825" cy="758825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9D6D43F5-DF22-EC87-9D47-53EA2BBC57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13608" y="1653660"/>
            <a:ext cx="758825" cy="758825"/>
          </a:xfrm>
          <a:prstGeom prst="rect">
            <a:avLst/>
          </a:prstGeom>
        </p:spPr>
      </p:pic>
      <p:sp>
        <p:nvSpPr>
          <p:cNvPr id="58" name="Right Triangle 57">
            <a:extLst>
              <a:ext uri="{FF2B5EF4-FFF2-40B4-BE49-F238E27FC236}">
                <a16:creationId xmlns:a16="http://schemas.microsoft.com/office/drawing/2014/main" id="{AECB8BB6-C24E-EB99-1221-A36B124597DC}"/>
              </a:ext>
            </a:extLst>
          </p:cNvPr>
          <p:cNvSpPr/>
          <p:nvPr/>
        </p:nvSpPr>
        <p:spPr>
          <a:xfrm>
            <a:off x="11424078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Right Triangle 58">
            <a:extLst>
              <a:ext uri="{FF2B5EF4-FFF2-40B4-BE49-F238E27FC236}">
                <a16:creationId xmlns:a16="http://schemas.microsoft.com/office/drawing/2014/main" id="{F8AED6DA-0CBC-A581-1CAA-3894DABDADA2}"/>
              </a:ext>
            </a:extLst>
          </p:cNvPr>
          <p:cNvSpPr/>
          <p:nvPr/>
        </p:nvSpPr>
        <p:spPr>
          <a:xfrm rot="16200000">
            <a:off x="8278820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Right Triangle 59">
            <a:extLst>
              <a:ext uri="{FF2B5EF4-FFF2-40B4-BE49-F238E27FC236}">
                <a16:creationId xmlns:a16="http://schemas.microsoft.com/office/drawing/2014/main" id="{C1E9AABD-0CB0-0838-4B40-9E578FF4BE52}"/>
              </a:ext>
            </a:extLst>
          </p:cNvPr>
          <p:cNvSpPr/>
          <p:nvPr/>
        </p:nvSpPr>
        <p:spPr>
          <a:xfrm>
            <a:off x="3700780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Right Triangle 60">
            <a:extLst>
              <a:ext uri="{FF2B5EF4-FFF2-40B4-BE49-F238E27FC236}">
                <a16:creationId xmlns:a16="http://schemas.microsoft.com/office/drawing/2014/main" id="{0B0F1FA1-2469-15D4-8881-6D8FDB599B8C}"/>
              </a:ext>
            </a:extLst>
          </p:cNvPr>
          <p:cNvSpPr/>
          <p:nvPr/>
        </p:nvSpPr>
        <p:spPr>
          <a:xfrm rot="16200000">
            <a:off x="555522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Right Triangle 61">
            <a:extLst>
              <a:ext uri="{FF2B5EF4-FFF2-40B4-BE49-F238E27FC236}">
                <a16:creationId xmlns:a16="http://schemas.microsoft.com/office/drawing/2014/main" id="{19925043-0B0C-00F1-160E-CDED08944AF3}"/>
              </a:ext>
            </a:extLst>
          </p:cNvPr>
          <p:cNvSpPr/>
          <p:nvPr/>
        </p:nvSpPr>
        <p:spPr>
          <a:xfrm>
            <a:off x="7562429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Right Triangle 62">
            <a:extLst>
              <a:ext uri="{FF2B5EF4-FFF2-40B4-BE49-F238E27FC236}">
                <a16:creationId xmlns:a16="http://schemas.microsoft.com/office/drawing/2014/main" id="{861FD579-93E7-DCF5-C4BE-12B09785770C}"/>
              </a:ext>
            </a:extLst>
          </p:cNvPr>
          <p:cNvSpPr/>
          <p:nvPr/>
        </p:nvSpPr>
        <p:spPr>
          <a:xfrm rot="16200000">
            <a:off x="4417171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48888D-50B6-2652-2E50-D50BA2BC88A7}"/>
              </a:ext>
            </a:extLst>
          </p:cNvPr>
          <p:cNvSpPr/>
          <p:nvPr/>
        </p:nvSpPr>
        <p:spPr>
          <a:xfrm>
            <a:off x="9525614" y="995462"/>
            <a:ext cx="2286000" cy="152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n-Exhaustive</a:t>
            </a:r>
          </a:p>
        </p:txBody>
      </p:sp>
    </p:spTree>
    <p:extLst>
      <p:ext uri="{BB962C8B-B14F-4D97-AF65-F5344CB8AC3E}">
        <p14:creationId xmlns:p14="http://schemas.microsoft.com/office/powerpoint/2010/main" val="30373951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0A586E-EBA4-0C92-8DD0-F45E5473E7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3263C5D-35A0-2AE1-E590-67B06B8EC4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8231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263C5D-35A0-2AE1-E590-67B06B8EC4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624BCB17-A30F-EBB9-86A7-11F6F1AD7896}"/>
              </a:ext>
            </a:extLst>
          </p:cNvPr>
          <p:cNvSpPr txBox="1">
            <a:spLocks/>
          </p:cNvSpPr>
          <p:nvPr/>
        </p:nvSpPr>
        <p:spPr>
          <a:xfrm>
            <a:off x="389709" y="389713"/>
            <a:ext cx="928106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Emirati Studies </a:t>
            </a:r>
            <a:r>
              <a:rPr lang="en-US"/>
              <a:t>is a leadership-focused study of how Emirati identity, heritage, and national vision shape the responsibilities of future officers</a:t>
            </a:r>
            <a:endParaRPr lang="en-US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91A5DFD-C24A-732D-4C29-463DB4A5C00F}"/>
              </a:ext>
            </a:extLst>
          </p:cNvPr>
          <p:cNvSpPr/>
          <p:nvPr/>
        </p:nvSpPr>
        <p:spPr>
          <a:xfrm>
            <a:off x="10827459" y="0"/>
            <a:ext cx="1364541" cy="3168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en-US" sz="1000" b="1">
                <a:solidFill>
                  <a:schemeClr val="bg1"/>
                </a:solidFill>
              </a:rPr>
              <a:t>Emirati Studies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69FDE7E8-6A3E-2AAB-C2C1-C144A0646F28}"/>
              </a:ext>
            </a:extLst>
          </p:cNvPr>
          <p:cNvSpPr txBox="1">
            <a:spLocks/>
          </p:cNvSpPr>
          <p:nvPr/>
        </p:nvSpPr>
        <p:spPr>
          <a:xfrm>
            <a:off x="389709" y="6496471"/>
            <a:ext cx="5321345" cy="23728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lIns="0" tIns="0" rIns="0" bIns="0" anchor="b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Source: ZMU, SUAD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1F523A5-0E84-7E23-8904-4D0920B13D0A}"/>
              </a:ext>
            </a:extLst>
          </p:cNvPr>
          <p:cNvSpPr/>
          <p:nvPr/>
        </p:nvSpPr>
        <p:spPr>
          <a:xfrm>
            <a:off x="8487838" y="1289205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MOE Contemporary Emirati Studies Textbook” (2024 edition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UAE Vision 2021, We the UAE 2031, Centennial 2071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Selected MOFA briefs on UAE domestic and foreign policy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Excerpts from UAE leadership speeches on identity, unity, and service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Government archival videos on UAE history, development, and heritage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Curated national narratives from official media and international outlet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5D01B17-1537-5373-21ED-A051CA75D012}"/>
              </a:ext>
            </a:extLst>
          </p:cNvPr>
          <p:cNvSpPr/>
          <p:nvPr/>
        </p:nvSpPr>
        <p:spPr>
          <a:xfrm>
            <a:off x="753545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Aft>
                <a:spcPts val="6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Build foundational understanding of UAE history, </a:t>
            </a:r>
            <a:r>
              <a:rPr lang="en-US" sz="1200">
                <a:solidFill>
                  <a:srgbClr val="1E1E1E"/>
                </a:solidFill>
              </a:rPr>
              <a:t>society, institutions, and values, through diverse sources</a:t>
            </a:r>
          </a:p>
          <a:p>
            <a:pPr marL="177800" indent="-177800">
              <a:lnSpc>
                <a:spcPct val="90000"/>
              </a:lnSpc>
              <a:spcAft>
                <a:spcPts val="6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Connect heritage, unity, and national vision</a:t>
            </a:r>
            <a:r>
              <a:rPr lang="en-US" sz="1200">
                <a:solidFill>
                  <a:srgbClr val="1E1E1E"/>
                </a:solidFill>
              </a:rPr>
              <a:t> to the responsibilities of future officers</a:t>
            </a:r>
          </a:p>
          <a:p>
            <a:pPr marL="177800" indent="-177800">
              <a:lnSpc>
                <a:spcPct val="90000"/>
              </a:lnSpc>
              <a:spcAft>
                <a:spcPts val="6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Develop</a:t>
            </a:r>
            <a:r>
              <a:rPr lang="en-US" sz="1200">
                <a:solidFill>
                  <a:srgbClr val="1E1E1E"/>
                </a:solidFill>
              </a:rPr>
              <a:t> </a:t>
            </a:r>
            <a:r>
              <a:rPr lang="en-US" sz="1200" b="1">
                <a:solidFill>
                  <a:srgbClr val="1E1E1E"/>
                </a:solidFill>
              </a:rPr>
              <a:t>historical-narrative analysis skills </a:t>
            </a:r>
            <a:r>
              <a:rPr lang="en-US" sz="1200">
                <a:solidFill>
                  <a:srgbClr val="1E1E1E"/>
                </a:solidFill>
              </a:rPr>
              <a:t>by comparing how different sources represent the UAE and its national stories</a:t>
            </a:r>
          </a:p>
          <a:p>
            <a:pPr marL="177800" indent="-177800">
              <a:lnSpc>
                <a:spcPct val="90000"/>
              </a:lnSpc>
              <a:spcAft>
                <a:spcPts val="6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Explore</a:t>
            </a:r>
            <a:r>
              <a:rPr lang="en-US" sz="1200">
                <a:solidFill>
                  <a:srgbClr val="1E1E1E"/>
                </a:solidFill>
              </a:rPr>
              <a:t> </a:t>
            </a:r>
            <a:r>
              <a:rPr lang="en-US" sz="1200" b="1">
                <a:solidFill>
                  <a:srgbClr val="1E1E1E"/>
                </a:solidFill>
              </a:rPr>
              <a:t>how identity and values inform early leadership instincts</a:t>
            </a:r>
            <a:r>
              <a:rPr lang="en-US" sz="1200">
                <a:solidFill>
                  <a:srgbClr val="1E1E1E"/>
                </a:solidFill>
              </a:rPr>
              <a:t>, laying groundwork for later ethical, leadership, and strategic learning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0E5F2D5-1C07-3AD5-6B05-850EBACCE4C9}"/>
              </a:ext>
            </a:extLst>
          </p:cNvPr>
          <p:cNvSpPr/>
          <p:nvPr/>
        </p:nvSpPr>
        <p:spPr>
          <a:xfrm>
            <a:off x="4626189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Aft>
                <a:spcPts val="6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Explain how UAE development, governance, and social systems have evolved</a:t>
            </a:r>
          </a:p>
          <a:p>
            <a:pPr marL="177800" indent="-177800">
              <a:lnSpc>
                <a:spcPct val="90000"/>
              </a:lnSpc>
              <a:spcAft>
                <a:spcPts val="6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Describe how elements of Emirati history and heritage shape their early attitudes toward service</a:t>
            </a:r>
            <a:r>
              <a:rPr lang="en-US" sz="1200">
                <a:solidFill>
                  <a:srgbClr val="1E1E1E"/>
                </a:solidFill>
              </a:rPr>
              <a:t>, teamwork, and responsibility as cadets</a:t>
            </a:r>
          </a:p>
          <a:p>
            <a:pPr marL="177800" indent="-177800">
              <a:lnSpc>
                <a:spcPct val="90000"/>
              </a:lnSpc>
              <a:spcAft>
                <a:spcPts val="6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Analyze differing representations of Emirati identity </a:t>
            </a:r>
            <a:r>
              <a:rPr lang="en-US" sz="1200">
                <a:solidFill>
                  <a:srgbClr val="1E1E1E"/>
                </a:solidFill>
              </a:rPr>
              <a:t>across various sources</a:t>
            </a:r>
          </a:p>
          <a:p>
            <a:pPr marL="177800" indent="-177800">
              <a:lnSpc>
                <a:spcPct val="90000"/>
              </a:lnSpc>
              <a:spcAft>
                <a:spcPts val="6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Synthesize course insights into a personalized “</a:t>
            </a:r>
            <a:r>
              <a:rPr lang="en-US" sz="1200" b="1">
                <a:solidFill>
                  <a:srgbClr val="1E1E1E"/>
                </a:solidFill>
              </a:rPr>
              <a:t>My Emirati Leadership Doctrine</a:t>
            </a:r>
            <a:r>
              <a:rPr lang="en-US" sz="1200">
                <a:solidFill>
                  <a:srgbClr val="1E1E1E"/>
                </a:solidFill>
              </a:rPr>
              <a:t>,” articulating their identity, values, and leadership philosophy, grounded in Sheikh Zayed’s legac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50B6760-14D9-2BCF-503A-D0B365F706CB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Curriculum – Emirati Studie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E1C428B-B16E-2041-0C61-FDF0775CAA01}"/>
              </a:ext>
            </a:extLst>
          </p:cNvPr>
          <p:cNvSpPr/>
          <p:nvPr/>
        </p:nvSpPr>
        <p:spPr>
          <a:xfrm>
            <a:off x="8269398" y="1613195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ding 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s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61C114A-6C9E-00B9-8A19-CCB0A2B8366B}"/>
              </a:ext>
            </a:extLst>
          </p:cNvPr>
          <p:cNvSpPr/>
          <p:nvPr/>
        </p:nvSpPr>
        <p:spPr>
          <a:xfrm>
            <a:off x="546100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DE30472-624E-F7A8-6FF7-8E8207054C0D}"/>
              </a:ext>
            </a:extLst>
          </p:cNvPr>
          <p:cNvSpPr/>
          <p:nvPr/>
        </p:nvSpPr>
        <p:spPr>
          <a:xfrm>
            <a:off x="4407749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comes</a:t>
            </a: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7FECFFD2-FD71-E340-7009-07BD8EB0FA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51175" y="1653660"/>
            <a:ext cx="758825" cy="758825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014243A7-6DCF-C90A-E128-FC4D7AA7B5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2392" y="1653660"/>
            <a:ext cx="758825" cy="758825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19DA5090-0277-ED97-278D-EB921A1E88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13608" y="1653660"/>
            <a:ext cx="758825" cy="758825"/>
          </a:xfrm>
          <a:prstGeom prst="rect">
            <a:avLst/>
          </a:prstGeom>
        </p:spPr>
      </p:pic>
      <p:sp>
        <p:nvSpPr>
          <p:cNvPr id="63" name="Right Triangle 62">
            <a:extLst>
              <a:ext uri="{FF2B5EF4-FFF2-40B4-BE49-F238E27FC236}">
                <a16:creationId xmlns:a16="http://schemas.microsoft.com/office/drawing/2014/main" id="{4C22D9C0-309C-2D62-5A9C-3A6AEA877F60}"/>
              </a:ext>
            </a:extLst>
          </p:cNvPr>
          <p:cNvSpPr/>
          <p:nvPr/>
        </p:nvSpPr>
        <p:spPr>
          <a:xfrm>
            <a:off x="11424078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Right Triangle 63">
            <a:extLst>
              <a:ext uri="{FF2B5EF4-FFF2-40B4-BE49-F238E27FC236}">
                <a16:creationId xmlns:a16="http://schemas.microsoft.com/office/drawing/2014/main" id="{CC20B551-B0FF-93B1-64BC-EE8E8656D789}"/>
              </a:ext>
            </a:extLst>
          </p:cNvPr>
          <p:cNvSpPr/>
          <p:nvPr/>
        </p:nvSpPr>
        <p:spPr>
          <a:xfrm rot="16200000">
            <a:off x="8278820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Right Triangle 64">
            <a:extLst>
              <a:ext uri="{FF2B5EF4-FFF2-40B4-BE49-F238E27FC236}">
                <a16:creationId xmlns:a16="http://schemas.microsoft.com/office/drawing/2014/main" id="{8EFD2F1F-A378-0D93-6897-E2883A3331F9}"/>
              </a:ext>
            </a:extLst>
          </p:cNvPr>
          <p:cNvSpPr/>
          <p:nvPr/>
        </p:nvSpPr>
        <p:spPr>
          <a:xfrm>
            <a:off x="3700780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Right Triangle 65">
            <a:extLst>
              <a:ext uri="{FF2B5EF4-FFF2-40B4-BE49-F238E27FC236}">
                <a16:creationId xmlns:a16="http://schemas.microsoft.com/office/drawing/2014/main" id="{FF52CBF7-CE5A-57A5-21E9-9E97865102A5}"/>
              </a:ext>
            </a:extLst>
          </p:cNvPr>
          <p:cNvSpPr/>
          <p:nvPr/>
        </p:nvSpPr>
        <p:spPr>
          <a:xfrm rot="16200000">
            <a:off x="555522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Right Triangle 66">
            <a:extLst>
              <a:ext uri="{FF2B5EF4-FFF2-40B4-BE49-F238E27FC236}">
                <a16:creationId xmlns:a16="http://schemas.microsoft.com/office/drawing/2014/main" id="{6DBA6C01-5CC1-E1F9-52D9-B27F6D132469}"/>
              </a:ext>
            </a:extLst>
          </p:cNvPr>
          <p:cNvSpPr/>
          <p:nvPr/>
        </p:nvSpPr>
        <p:spPr>
          <a:xfrm>
            <a:off x="7562429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Right Triangle 67">
            <a:extLst>
              <a:ext uri="{FF2B5EF4-FFF2-40B4-BE49-F238E27FC236}">
                <a16:creationId xmlns:a16="http://schemas.microsoft.com/office/drawing/2014/main" id="{385D527C-667F-8728-7E8F-43C3ACEF3487}"/>
              </a:ext>
            </a:extLst>
          </p:cNvPr>
          <p:cNvSpPr/>
          <p:nvPr/>
        </p:nvSpPr>
        <p:spPr>
          <a:xfrm rot="16200000">
            <a:off x="4417171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4FD0D2-8D90-3C5C-509C-EBB7E0A69976}"/>
              </a:ext>
            </a:extLst>
          </p:cNvPr>
          <p:cNvSpPr/>
          <p:nvPr/>
        </p:nvSpPr>
        <p:spPr>
          <a:xfrm>
            <a:off x="9525614" y="995462"/>
            <a:ext cx="2286000" cy="152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liminary, Non-Exhaus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39F6AE-6EBB-252A-7869-0A76CF4EF00B}"/>
              </a:ext>
            </a:extLst>
          </p:cNvPr>
          <p:cNvSpPr/>
          <p:nvPr/>
        </p:nvSpPr>
        <p:spPr>
          <a:xfrm>
            <a:off x="2964131" y="6268799"/>
            <a:ext cx="6263739" cy="388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 i="1">
                <a:solidFill>
                  <a:schemeClr val="tx1"/>
                </a:solidFill>
              </a:rPr>
              <a:t>Preliminary Curriculum to be piloted in 2026 by SUAD </a:t>
            </a:r>
          </a:p>
        </p:txBody>
      </p:sp>
    </p:spTree>
    <p:extLst>
      <p:ext uri="{BB962C8B-B14F-4D97-AF65-F5344CB8AC3E}">
        <p14:creationId xmlns:p14="http://schemas.microsoft.com/office/powerpoint/2010/main" val="19387932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F5562A-8DD8-38DA-8804-ECFAA6CD50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AC0C58E-5044-928F-2EE8-A64D450F5D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56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C0C58E-5044-928F-2EE8-A64D450F5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13DA0F06-2798-526C-4FC5-DAC52711CA74}"/>
              </a:ext>
            </a:extLst>
          </p:cNvPr>
          <p:cNvSpPr/>
          <p:nvPr/>
        </p:nvSpPr>
        <p:spPr>
          <a:xfrm>
            <a:off x="10827459" y="0"/>
            <a:ext cx="1364541" cy="3168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en-US" sz="1000" b="1">
                <a:solidFill>
                  <a:schemeClr val="bg1"/>
                </a:solidFill>
              </a:rPr>
              <a:t>Innovation and Entrepreneurship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23D618F1-9932-6575-DB4B-55944CCF5E48}"/>
              </a:ext>
            </a:extLst>
          </p:cNvPr>
          <p:cNvSpPr txBox="1">
            <a:spLocks/>
          </p:cNvSpPr>
          <p:nvPr/>
        </p:nvSpPr>
        <p:spPr>
          <a:xfrm>
            <a:off x="389709" y="6496471"/>
            <a:ext cx="5321345" cy="23728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lIns="0" tIns="0" rIns="0" bIns="0" anchor="b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Source: ZMU</a:t>
            </a:r>
            <a:endParaRPr 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D28B2B7-B641-469E-BA58-F1415B1DD38D}"/>
              </a:ext>
            </a:extLst>
          </p:cNvPr>
          <p:cNvSpPr/>
          <p:nvPr/>
        </p:nvSpPr>
        <p:spPr>
          <a:xfrm>
            <a:off x="8487838" y="1289205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Change by Design” - Tim Brown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Creative Confidence” - Tom Kelley &amp; David Kelley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The Innovator’s DNA” - Jeff Dyer, Hal Gregersen &amp; Clayton Christensen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The Art of Innovation” - Tom Kelley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Flashes of Thought” - H.H. Sheikh Mohammed bin Rashid Al Maktoum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Design Thinking Comes of Age” - Jon Kolko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Start With Why” - Simon Sinek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Range: How Generalists Triumph in a Specialized World” - David Epstei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23AAF1F-D806-41F6-3DE2-8962E1DBC7EA}"/>
              </a:ext>
            </a:extLst>
          </p:cNvPr>
          <p:cNvSpPr/>
          <p:nvPr/>
        </p:nvSpPr>
        <p:spPr>
          <a:xfrm>
            <a:off x="753545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Introduce design thinking </a:t>
            </a:r>
            <a:r>
              <a:rPr lang="en-US" sz="1200">
                <a:solidFill>
                  <a:srgbClr val="1E1E1E"/>
                </a:solidFill>
              </a:rPr>
              <a:t>to help cadets identify and define defence- or service-related problems with clarity and purpose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Strengthen skills in defining problems, </a:t>
            </a:r>
            <a:r>
              <a:rPr lang="en-US" sz="1200">
                <a:solidFill>
                  <a:srgbClr val="1E1E1E"/>
                </a:solidFill>
              </a:rPr>
              <a:t>generating ideas, and evaluating solution pathway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Encourage initiative, adaptability, and thoughtful experimentation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in service-oriented contexts 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Cultivate a leadership mindset </a:t>
            </a:r>
            <a:r>
              <a:rPr lang="en-US" sz="1200">
                <a:solidFill>
                  <a:srgbClr val="1E1E1E"/>
                </a:solidFill>
              </a:rPr>
              <a:t>that links creativity, initiative, and service, with innovation</a:t>
            </a:r>
            <a:endParaRPr lang="en-US" sz="1200" b="1">
              <a:solidFill>
                <a:srgbClr val="1E1E1E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CB20AE2-066D-9C31-83E9-1E9B1D6688AE}"/>
              </a:ext>
            </a:extLst>
          </p:cNvPr>
          <p:cNvSpPr/>
          <p:nvPr/>
        </p:nvSpPr>
        <p:spPr>
          <a:xfrm>
            <a:off x="4626189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Apply a structured design-thinking process to identify a service or defence need</a:t>
            </a:r>
            <a:r>
              <a:rPr lang="en-US" sz="1200">
                <a:solidFill>
                  <a:srgbClr val="1E1E1E"/>
                </a:solidFill>
              </a:rPr>
              <a:t>, analyze constraints, and generate a solution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Demonstrate effective teamwork, communication, and project-planning skills </a:t>
            </a:r>
            <a:r>
              <a:rPr lang="en-US" sz="1200">
                <a:solidFill>
                  <a:srgbClr val="1E1E1E"/>
                </a:solidFill>
              </a:rPr>
              <a:t>through collaborative problem-solving task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Evaluate solution options </a:t>
            </a:r>
            <a:r>
              <a:rPr lang="en-US" sz="1200">
                <a:solidFill>
                  <a:srgbClr val="1E1E1E"/>
                </a:solidFill>
              </a:rPr>
              <a:t>using criteria such as feasibility, impact, alignment with UAE priorities, and 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Produce a final </a:t>
            </a:r>
            <a:r>
              <a:rPr lang="en-US" sz="1200" b="1">
                <a:solidFill>
                  <a:srgbClr val="1E1E1E"/>
                </a:solidFill>
              </a:rPr>
              <a:t>Innovation for Service Project</a:t>
            </a:r>
            <a:r>
              <a:rPr lang="en-US" sz="1200">
                <a:solidFill>
                  <a:srgbClr val="1E1E1E"/>
                </a:solidFill>
              </a:rPr>
              <a:t> that links a real challenge to a proposed solution and articulates how their approach reflects their emerging leadership identi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F4D835-5F4D-B52E-2500-9A54760B680C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Curriculum – Innovation and Entrepreneurship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102B4BD-01DC-8D11-CF6F-938BEC515678}"/>
              </a:ext>
            </a:extLst>
          </p:cNvPr>
          <p:cNvSpPr/>
          <p:nvPr/>
        </p:nvSpPr>
        <p:spPr>
          <a:xfrm>
            <a:off x="8269398" y="1613195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ding 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s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713BF6C-349A-5EB9-1B40-44DA2C8DB99C}"/>
              </a:ext>
            </a:extLst>
          </p:cNvPr>
          <p:cNvSpPr/>
          <p:nvPr/>
        </p:nvSpPr>
        <p:spPr>
          <a:xfrm>
            <a:off x="546100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253C27D-4C2C-B28C-8B79-35E7CF533E44}"/>
              </a:ext>
            </a:extLst>
          </p:cNvPr>
          <p:cNvSpPr/>
          <p:nvPr/>
        </p:nvSpPr>
        <p:spPr>
          <a:xfrm>
            <a:off x="4407749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comes</a:t>
            </a:r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9100DE80-9510-5749-D737-E0F4CE492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51175" y="1653660"/>
            <a:ext cx="758825" cy="758825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5C8BA1E5-FB3A-1B7E-5DA4-E7229B78A96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2392" y="1653660"/>
            <a:ext cx="758825" cy="758825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A7F28205-E7BC-8CF4-BCE9-34628B37964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13608" y="1653660"/>
            <a:ext cx="758825" cy="758825"/>
          </a:xfrm>
          <a:prstGeom prst="rect">
            <a:avLst/>
          </a:prstGeom>
        </p:spPr>
      </p:pic>
      <p:sp>
        <p:nvSpPr>
          <p:cNvPr id="59" name="Right Triangle 58">
            <a:extLst>
              <a:ext uri="{FF2B5EF4-FFF2-40B4-BE49-F238E27FC236}">
                <a16:creationId xmlns:a16="http://schemas.microsoft.com/office/drawing/2014/main" id="{A903C724-D049-D2F8-048C-F56470260C0A}"/>
              </a:ext>
            </a:extLst>
          </p:cNvPr>
          <p:cNvSpPr/>
          <p:nvPr/>
        </p:nvSpPr>
        <p:spPr>
          <a:xfrm>
            <a:off x="11424078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Right Triangle 59">
            <a:extLst>
              <a:ext uri="{FF2B5EF4-FFF2-40B4-BE49-F238E27FC236}">
                <a16:creationId xmlns:a16="http://schemas.microsoft.com/office/drawing/2014/main" id="{7D02D9B5-E6A8-451D-9DC9-2F52CBDD6554}"/>
              </a:ext>
            </a:extLst>
          </p:cNvPr>
          <p:cNvSpPr/>
          <p:nvPr/>
        </p:nvSpPr>
        <p:spPr>
          <a:xfrm rot="16200000">
            <a:off x="8278820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Right Triangle 60">
            <a:extLst>
              <a:ext uri="{FF2B5EF4-FFF2-40B4-BE49-F238E27FC236}">
                <a16:creationId xmlns:a16="http://schemas.microsoft.com/office/drawing/2014/main" id="{8AD29B5C-E90C-1936-F65D-1755E81B6371}"/>
              </a:ext>
            </a:extLst>
          </p:cNvPr>
          <p:cNvSpPr/>
          <p:nvPr/>
        </p:nvSpPr>
        <p:spPr>
          <a:xfrm>
            <a:off x="3700780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Right Triangle 61">
            <a:extLst>
              <a:ext uri="{FF2B5EF4-FFF2-40B4-BE49-F238E27FC236}">
                <a16:creationId xmlns:a16="http://schemas.microsoft.com/office/drawing/2014/main" id="{EC1EB341-B444-13CD-8DCA-85D530E9165A}"/>
              </a:ext>
            </a:extLst>
          </p:cNvPr>
          <p:cNvSpPr/>
          <p:nvPr/>
        </p:nvSpPr>
        <p:spPr>
          <a:xfrm rot="16200000">
            <a:off x="555522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Right Triangle 62">
            <a:extLst>
              <a:ext uri="{FF2B5EF4-FFF2-40B4-BE49-F238E27FC236}">
                <a16:creationId xmlns:a16="http://schemas.microsoft.com/office/drawing/2014/main" id="{6FD32FC5-A9B4-E4EB-5529-72D06D669F43}"/>
              </a:ext>
            </a:extLst>
          </p:cNvPr>
          <p:cNvSpPr/>
          <p:nvPr/>
        </p:nvSpPr>
        <p:spPr>
          <a:xfrm>
            <a:off x="7562429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Right Triangle 63">
            <a:extLst>
              <a:ext uri="{FF2B5EF4-FFF2-40B4-BE49-F238E27FC236}">
                <a16:creationId xmlns:a16="http://schemas.microsoft.com/office/drawing/2014/main" id="{4A19F7BA-83E6-B3F6-5848-6159FC0EF6A4}"/>
              </a:ext>
            </a:extLst>
          </p:cNvPr>
          <p:cNvSpPr/>
          <p:nvPr/>
        </p:nvSpPr>
        <p:spPr>
          <a:xfrm rot="16200000">
            <a:off x="4417171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B18537-A062-A9E1-A48A-A024AE689BF5}"/>
              </a:ext>
            </a:extLst>
          </p:cNvPr>
          <p:cNvSpPr/>
          <p:nvPr/>
        </p:nvSpPr>
        <p:spPr>
          <a:xfrm>
            <a:off x="9525614" y="995462"/>
            <a:ext cx="2286000" cy="152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liminary, Non-Exhaustiv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5AE72CC-A0F0-54CD-FC5D-964D596B882C}"/>
              </a:ext>
            </a:extLst>
          </p:cNvPr>
          <p:cNvSpPr txBox="1">
            <a:spLocks/>
          </p:cNvSpPr>
          <p:nvPr/>
        </p:nvSpPr>
        <p:spPr>
          <a:xfrm>
            <a:off x="389709" y="389713"/>
            <a:ext cx="913590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novation &amp; Entrepreneurship course introduces cadets to design-thinking and problem-solving</a:t>
            </a:r>
            <a:endParaRPr lang="en-US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BEC878-379D-FC25-20D5-4F5113C96883}"/>
              </a:ext>
            </a:extLst>
          </p:cNvPr>
          <p:cNvSpPr/>
          <p:nvPr/>
        </p:nvSpPr>
        <p:spPr>
          <a:xfrm>
            <a:off x="2964131" y="6268799"/>
            <a:ext cx="6263739" cy="388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 i="1">
                <a:solidFill>
                  <a:schemeClr val="tx1"/>
                </a:solidFill>
              </a:rPr>
              <a:t>Suggested Curriculum – Pending finalization by SUAD</a:t>
            </a:r>
          </a:p>
        </p:txBody>
      </p:sp>
    </p:spTree>
    <p:extLst>
      <p:ext uri="{BB962C8B-B14F-4D97-AF65-F5344CB8AC3E}">
        <p14:creationId xmlns:p14="http://schemas.microsoft.com/office/powerpoint/2010/main" val="38301581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0700D-B38B-C890-BFC7-0327278D80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BB1C091C-6710-B9A4-D8C5-778D37ADF8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276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1C091C-6710-B9A4-D8C5-778D37ADF8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68B0E4F0-7639-C9A1-2FE9-020BCAA2CD6C}"/>
              </a:ext>
            </a:extLst>
          </p:cNvPr>
          <p:cNvSpPr txBox="1">
            <a:spLocks/>
          </p:cNvSpPr>
          <p:nvPr/>
        </p:nvSpPr>
        <p:spPr>
          <a:xfrm>
            <a:off x="389710" y="389713"/>
            <a:ext cx="10125890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Psychology course provides cadets the core psychological tools essential for effective leadership by analyzing how people think and behav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A4AC84C-F1B9-56ED-4FD9-723B79037839}"/>
              </a:ext>
            </a:extLst>
          </p:cNvPr>
          <p:cNvSpPr/>
          <p:nvPr/>
        </p:nvSpPr>
        <p:spPr>
          <a:xfrm>
            <a:off x="10827459" y="0"/>
            <a:ext cx="1364541" cy="3168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en-US" sz="1000" b="1">
                <a:solidFill>
                  <a:schemeClr val="bg1"/>
                </a:solidFill>
              </a:rPr>
              <a:t>Psychology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46CE4330-C6A6-F955-413A-848948901031}"/>
              </a:ext>
            </a:extLst>
          </p:cNvPr>
          <p:cNvSpPr txBox="1">
            <a:spLocks/>
          </p:cNvSpPr>
          <p:nvPr/>
        </p:nvSpPr>
        <p:spPr>
          <a:xfrm>
            <a:off x="389709" y="6496471"/>
            <a:ext cx="5321345" cy="23728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lIns="0" tIns="0" rIns="0" bIns="0" anchor="b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Source: ZMU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122BE58-94C9-0BDA-4A03-9EA67939CF84}"/>
              </a:ext>
            </a:extLst>
          </p:cNvPr>
          <p:cNvSpPr/>
          <p:nvPr/>
        </p:nvSpPr>
        <p:spPr>
          <a:xfrm>
            <a:off x="8487838" y="1289205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37160" bIns="72009" rtlCol="0" anchor="t"/>
          <a:lstStyle/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Mistakes Were Made (but Not by Me): Why We Justify Foolish Beliefs, Bad Decisions and Hurtful Acts” - </a:t>
            </a:r>
            <a:r>
              <a:rPr lang="en-US" sz="1200" err="1">
                <a:solidFill>
                  <a:srgbClr val="1E1E1E"/>
                </a:solidFill>
              </a:rPr>
              <a:t>Tavris</a:t>
            </a:r>
            <a:r>
              <a:rPr lang="en-US" sz="1200">
                <a:solidFill>
                  <a:srgbClr val="1E1E1E"/>
                </a:solidFill>
              </a:rPr>
              <a:t> and Aronson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Thinking, Fast and Slow” - Daniel Kahneman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Leadership and Self-Deception” - Arbinger Institute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The Social Animal” - Elliot Aronson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Mindset” - Carol Dweck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Self-Efficacy: Toward a Unifying Theory of Behavioral Chang” -  Albert Bandura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Developmental Sequence in Small Groups” - Bruce Tuckman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Psychological Safety and Learning Behavior in Work Teams” - Amy Edmondso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14AEB54-20D5-8CA8-3CF1-BEAFB7F31C3F}"/>
              </a:ext>
            </a:extLst>
          </p:cNvPr>
          <p:cNvSpPr/>
          <p:nvPr/>
        </p:nvSpPr>
        <p:spPr>
          <a:xfrm>
            <a:off x="753545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Introduce core concepts in cognitive, social, and developmental psychology </a:t>
            </a:r>
            <a:r>
              <a:rPr lang="en-US" sz="1200">
                <a:solidFill>
                  <a:srgbClr val="1E1E1E"/>
                </a:solidFill>
              </a:rPr>
              <a:t>that shape how individuals think, perceive, decide, and act 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Strengthen cadets’ understanding of bias, motivation, self-regulation, </a:t>
            </a:r>
            <a:r>
              <a:rPr lang="en-US" sz="1200">
                <a:solidFill>
                  <a:srgbClr val="1E1E1E"/>
                </a:solidFill>
              </a:rPr>
              <a:t>and interpersonal influence to build foundational leadership awarenes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Develop the ability to analyze group dynamics, </a:t>
            </a:r>
            <a:r>
              <a:rPr lang="en-US" sz="1200">
                <a:solidFill>
                  <a:srgbClr val="1E1E1E"/>
                </a:solidFill>
              </a:rPr>
              <a:t>cohesion, and communication pattern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Prepare cadets for advanced leadership training by </a:t>
            </a:r>
            <a:r>
              <a:rPr lang="en-US" sz="1200" b="1">
                <a:solidFill>
                  <a:srgbClr val="1E1E1E"/>
                </a:solidFill>
              </a:rPr>
              <a:t>linking</a:t>
            </a:r>
            <a:r>
              <a:rPr lang="en-US" sz="1200">
                <a:solidFill>
                  <a:srgbClr val="1E1E1E"/>
                </a:solidFill>
              </a:rPr>
              <a:t> </a:t>
            </a:r>
            <a:r>
              <a:rPr lang="en-US" sz="1200" b="1">
                <a:solidFill>
                  <a:srgbClr val="1E1E1E"/>
                </a:solidFill>
              </a:rPr>
              <a:t>behavioral science to real cadet-life scenarios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A716991-7015-0D2B-8566-BF3E82CC208B}"/>
              </a:ext>
            </a:extLst>
          </p:cNvPr>
          <p:cNvSpPr/>
          <p:nvPr/>
        </p:nvSpPr>
        <p:spPr>
          <a:xfrm>
            <a:off x="4626189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Explain</a:t>
            </a:r>
            <a:r>
              <a:rPr lang="en-US" sz="1200">
                <a:solidFill>
                  <a:srgbClr val="1E1E1E"/>
                </a:solidFill>
              </a:rPr>
              <a:t> </a:t>
            </a:r>
            <a:r>
              <a:rPr lang="en-US" sz="1200" b="1">
                <a:solidFill>
                  <a:srgbClr val="1E1E1E"/>
                </a:solidFill>
              </a:rPr>
              <a:t>key psychological processes </a:t>
            </a:r>
            <a:r>
              <a:rPr lang="en-US" sz="1200">
                <a:solidFill>
                  <a:srgbClr val="1E1E1E"/>
                </a:solidFill>
              </a:rPr>
              <a:t>- including bias, motivation, and emotion - and relate them to leadership and decision-making scenario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Analyze</a:t>
            </a:r>
            <a:r>
              <a:rPr lang="en-US" sz="1200">
                <a:solidFill>
                  <a:srgbClr val="1E1E1E"/>
                </a:solidFill>
              </a:rPr>
              <a:t> </a:t>
            </a:r>
            <a:r>
              <a:rPr lang="en-US" sz="1200" b="1">
                <a:solidFill>
                  <a:srgbClr val="1E1E1E"/>
                </a:solidFill>
              </a:rPr>
              <a:t>team behavior and group dynamics </a:t>
            </a:r>
            <a:r>
              <a:rPr lang="en-US" sz="1200">
                <a:solidFill>
                  <a:srgbClr val="1E1E1E"/>
                </a:solidFill>
              </a:rPr>
              <a:t>using frameworks such as self-efficacy, group development, and psychological safety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Apply psychological concepts to evaluate decisions </a:t>
            </a:r>
            <a:r>
              <a:rPr lang="en-US" sz="1200">
                <a:solidFill>
                  <a:srgbClr val="1E1E1E"/>
                </a:solidFill>
              </a:rPr>
              <a:t>made under stress, uncertainty, or social pressure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Produce a “</a:t>
            </a:r>
            <a:r>
              <a:rPr lang="en-US" sz="1200" b="1">
                <a:solidFill>
                  <a:srgbClr val="1E1E1E"/>
                </a:solidFill>
              </a:rPr>
              <a:t>My Leadership Behavioral Doctrine” </a:t>
            </a:r>
            <a:r>
              <a:rPr lang="en-US" sz="1200">
                <a:solidFill>
                  <a:srgbClr val="1E1E1E"/>
                </a:solidFill>
              </a:rPr>
              <a:t>that integrates course insights with their identity and responsibilities as future office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BC90C05-E05F-E861-BD33-DF01B2FE7C65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Curriculum – Psycholog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8404FCC-3492-F543-38F3-91D785AA5C4D}"/>
              </a:ext>
            </a:extLst>
          </p:cNvPr>
          <p:cNvSpPr/>
          <p:nvPr/>
        </p:nvSpPr>
        <p:spPr>
          <a:xfrm>
            <a:off x="8269398" y="1613195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ding 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st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D51DE80-F9CC-761E-3330-2ED374CAB1D7}"/>
              </a:ext>
            </a:extLst>
          </p:cNvPr>
          <p:cNvSpPr/>
          <p:nvPr/>
        </p:nvSpPr>
        <p:spPr>
          <a:xfrm>
            <a:off x="546100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EDA4291-3C6F-0B90-DAE3-675193BF6BDA}"/>
              </a:ext>
            </a:extLst>
          </p:cNvPr>
          <p:cNvSpPr/>
          <p:nvPr/>
        </p:nvSpPr>
        <p:spPr>
          <a:xfrm>
            <a:off x="4407749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comes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28465ECA-5E3A-F822-4107-0C5278303E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51175" y="1653660"/>
            <a:ext cx="758825" cy="758825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8784C86F-6217-C8AF-EAA1-ED6FF1AECE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2392" y="1653660"/>
            <a:ext cx="758825" cy="758825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B210BC7B-0380-4164-3E92-75F53734184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13608" y="1653660"/>
            <a:ext cx="758825" cy="758825"/>
          </a:xfrm>
          <a:prstGeom prst="rect">
            <a:avLst/>
          </a:prstGeom>
        </p:spPr>
      </p:pic>
      <p:sp>
        <p:nvSpPr>
          <p:cNvPr id="56" name="Right Triangle 55">
            <a:extLst>
              <a:ext uri="{FF2B5EF4-FFF2-40B4-BE49-F238E27FC236}">
                <a16:creationId xmlns:a16="http://schemas.microsoft.com/office/drawing/2014/main" id="{03B44D83-5007-20D0-179C-95FFED863BD2}"/>
              </a:ext>
            </a:extLst>
          </p:cNvPr>
          <p:cNvSpPr/>
          <p:nvPr/>
        </p:nvSpPr>
        <p:spPr>
          <a:xfrm rot="16200000">
            <a:off x="8278820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Right Triangle 56">
            <a:extLst>
              <a:ext uri="{FF2B5EF4-FFF2-40B4-BE49-F238E27FC236}">
                <a16:creationId xmlns:a16="http://schemas.microsoft.com/office/drawing/2014/main" id="{454E5663-0805-CC4B-F4F3-8FAF51F8734B}"/>
              </a:ext>
            </a:extLst>
          </p:cNvPr>
          <p:cNvSpPr/>
          <p:nvPr/>
        </p:nvSpPr>
        <p:spPr>
          <a:xfrm rot="16200000">
            <a:off x="555522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Right Triangle 57">
            <a:extLst>
              <a:ext uri="{FF2B5EF4-FFF2-40B4-BE49-F238E27FC236}">
                <a16:creationId xmlns:a16="http://schemas.microsoft.com/office/drawing/2014/main" id="{E2380EAB-B830-6C54-3887-48D7B3A8E5CD}"/>
              </a:ext>
            </a:extLst>
          </p:cNvPr>
          <p:cNvSpPr/>
          <p:nvPr/>
        </p:nvSpPr>
        <p:spPr>
          <a:xfrm rot="16200000">
            <a:off x="4417171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Right Triangle 58">
            <a:extLst>
              <a:ext uri="{FF2B5EF4-FFF2-40B4-BE49-F238E27FC236}">
                <a16:creationId xmlns:a16="http://schemas.microsoft.com/office/drawing/2014/main" id="{1C9F309D-4D39-82AC-B2A9-31B68CD0B4DC}"/>
              </a:ext>
            </a:extLst>
          </p:cNvPr>
          <p:cNvSpPr/>
          <p:nvPr/>
        </p:nvSpPr>
        <p:spPr>
          <a:xfrm>
            <a:off x="11424078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Right Triangle 59">
            <a:extLst>
              <a:ext uri="{FF2B5EF4-FFF2-40B4-BE49-F238E27FC236}">
                <a16:creationId xmlns:a16="http://schemas.microsoft.com/office/drawing/2014/main" id="{93DC8050-575E-7B50-972A-F9DF16089281}"/>
              </a:ext>
            </a:extLst>
          </p:cNvPr>
          <p:cNvSpPr/>
          <p:nvPr/>
        </p:nvSpPr>
        <p:spPr>
          <a:xfrm>
            <a:off x="3700780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Right Triangle 60">
            <a:extLst>
              <a:ext uri="{FF2B5EF4-FFF2-40B4-BE49-F238E27FC236}">
                <a16:creationId xmlns:a16="http://schemas.microsoft.com/office/drawing/2014/main" id="{C5EDCA18-F0B5-8B2B-F302-A0D6F9AF7EED}"/>
              </a:ext>
            </a:extLst>
          </p:cNvPr>
          <p:cNvSpPr/>
          <p:nvPr/>
        </p:nvSpPr>
        <p:spPr>
          <a:xfrm>
            <a:off x="7562429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1163EC-2D27-6393-BEB0-F93939277DC5}"/>
              </a:ext>
            </a:extLst>
          </p:cNvPr>
          <p:cNvSpPr/>
          <p:nvPr/>
        </p:nvSpPr>
        <p:spPr>
          <a:xfrm>
            <a:off x="9525614" y="995462"/>
            <a:ext cx="2286000" cy="152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liminary, Non-Exhaustiv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90A217-E1C6-C9BB-E9DD-62E0E71945B1}"/>
              </a:ext>
            </a:extLst>
          </p:cNvPr>
          <p:cNvSpPr/>
          <p:nvPr/>
        </p:nvSpPr>
        <p:spPr>
          <a:xfrm>
            <a:off x="2964131" y="6268799"/>
            <a:ext cx="6263739" cy="388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 i="1">
                <a:solidFill>
                  <a:schemeClr val="tx1"/>
                </a:solidFill>
              </a:rPr>
              <a:t>Suggested Curriculum – Pending finalization by SUAD</a:t>
            </a:r>
          </a:p>
        </p:txBody>
      </p:sp>
    </p:spTree>
    <p:extLst>
      <p:ext uri="{BB962C8B-B14F-4D97-AF65-F5344CB8AC3E}">
        <p14:creationId xmlns:p14="http://schemas.microsoft.com/office/powerpoint/2010/main" val="12993412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EA2D8A-A5E0-FEB0-255A-D52A6FE15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53A6F51-B1AD-67D2-39AA-814A704F3B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383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3A6F51-B1AD-67D2-39AA-814A704F3B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36949735-5C93-FA7F-D66A-8AA06D45A05B}"/>
              </a:ext>
            </a:extLst>
          </p:cNvPr>
          <p:cNvSpPr/>
          <p:nvPr/>
        </p:nvSpPr>
        <p:spPr>
          <a:xfrm>
            <a:off x="10827459" y="0"/>
            <a:ext cx="1364541" cy="3168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en-US" sz="1000" b="1">
                <a:solidFill>
                  <a:schemeClr val="bg1"/>
                </a:solidFill>
              </a:rPr>
              <a:t>Philosophy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0086E288-2E68-0321-2AE6-BF1951033FCD}"/>
              </a:ext>
            </a:extLst>
          </p:cNvPr>
          <p:cNvSpPr txBox="1">
            <a:spLocks/>
          </p:cNvSpPr>
          <p:nvPr/>
        </p:nvSpPr>
        <p:spPr>
          <a:xfrm>
            <a:off x="389709" y="6496471"/>
            <a:ext cx="5321345" cy="23728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lIns="0" tIns="0" rIns="0" bIns="0" anchor="b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t>Source: ZMU, SUAD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7D16ACE-9409-8C9B-FCE6-145B9A9E8FDA}"/>
              </a:ext>
            </a:extLst>
          </p:cNvPr>
          <p:cNvSpPr/>
          <p:nvPr/>
        </p:nvSpPr>
        <p:spPr>
          <a:xfrm>
            <a:off x="8487838" y="1289205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The Coming Wave: AI, Power, and Our Future” - Mustafa Suleyman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Defining Moments: When Managers Must Choose Between Right and Right” - Joseph Badaracco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Just and Unjust Wars” - Michael Walzer (5th edition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Revival of the Religious Sciences - The Formation of Character” - Al-Ghazali (Book XXII)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The Ethical Algorithm” - Kears and Roth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Moral Courage” - Rushworth Kidder</a:t>
            </a:r>
          </a:p>
          <a:p>
            <a:pPr marL="152400" indent="-1524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>
                <a:solidFill>
                  <a:srgbClr val="1E1E1E"/>
                </a:solidFill>
              </a:rPr>
              <a:t>“A Perfect Moral Storm: The Ethical Tragedy of Climate Chang” - Stephen M. Gardiner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8ED67CC-D6AA-5F25-B9D0-9127F43B3E69}"/>
              </a:ext>
            </a:extLst>
          </p:cNvPr>
          <p:cNvSpPr/>
          <p:nvPr/>
        </p:nvSpPr>
        <p:spPr>
          <a:xfrm>
            <a:off x="753545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Build foundational ethical reasoning skills </a:t>
            </a:r>
            <a:r>
              <a:rPr lang="en-US" sz="1200">
                <a:solidFill>
                  <a:srgbClr val="1E1E1E"/>
                </a:solidFill>
              </a:rPr>
              <a:t>through analysis of dilemmas involving loyalty, responsibility, and uncertainty in military context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Examine diverse moral traditions and perspectives </a:t>
            </a:r>
            <a:r>
              <a:rPr lang="en-US" sz="1200">
                <a:solidFill>
                  <a:srgbClr val="1E1E1E"/>
                </a:solidFill>
              </a:rPr>
              <a:t>to deepen understanding of virtue, character, and leadership 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Develop competence in using structured ethical frameworks </a:t>
            </a:r>
            <a:r>
              <a:rPr lang="en-US" sz="1200">
                <a:solidFill>
                  <a:srgbClr val="1E1E1E"/>
                </a:solidFill>
              </a:rPr>
              <a:t>to analyze dilemmas involving loyalty, responsibility, and uncertainty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1">
                <a:solidFill>
                  <a:srgbClr val="1E1E1E"/>
                </a:solidFill>
              </a:rPr>
              <a:t>Explore emerging ethical challenges </a:t>
            </a:r>
            <a:r>
              <a:rPr lang="en-US" sz="1200">
                <a:solidFill>
                  <a:srgbClr val="1E1E1E"/>
                </a:solidFill>
              </a:rPr>
              <a:t>such as AI and climate change, developing the capacity to </a:t>
            </a:r>
            <a:r>
              <a:rPr lang="en-US" sz="1200" b="1">
                <a:solidFill>
                  <a:srgbClr val="1E1E1E"/>
                </a:solidFill>
              </a:rPr>
              <a:t>navigate future uncertainty</a:t>
            </a:r>
            <a:endParaRPr lang="en-US" sz="1200">
              <a:solidFill>
                <a:srgbClr val="1E1E1E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199BA3D-4271-BF8F-E643-B7F8CDEBEB6D}"/>
              </a:ext>
            </a:extLst>
          </p:cNvPr>
          <p:cNvSpPr/>
          <p:nvPr/>
        </p:nvSpPr>
        <p:spPr>
          <a:xfrm>
            <a:off x="4626189" y="1285874"/>
            <a:ext cx="2936240" cy="4886325"/>
          </a:xfrm>
          <a:prstGeom prst="roundRect">
            <a:avLst>
              <a:gd name="adj" fmla="val 7468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188720" rIns="182880" bIns="72009" rtlCol="0" anchor="t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Evaluate arguments, identify assumptions, and assess competing moral claims </a:t>
            </a:r>
            <a:r>
              <a:rPr lang="en-US" sz="1200">
                <a:solidFill>
                  <a:srgbClr val="1E1E1E"/>
                </a:solidFill>
              </a:rPr>
              <a:t>in philosophical and applied leadership cases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Apply ethical frameworks </a:t>
            </a:r>
            <a:r>
              <a:rPr lang="en-US" sz="1200">
                <a:solidFill>
                  <a:srgbClr val="1E1E1E"/>
                </a:solidFill>
              </a:rPr>
              <a:t>to </a:t>
            </a:r>
            <a:r>
              <a:rPr lang="en-US" sz="1200" b="1">
                <a:solidFill>
                  <a:srgbClr val="1E1E1E"/>
                </a:solidFill>
              </a:rPr>
              <a:t>analyze moral dilemmas </a:t>
            </a:r>
            <a:r>
              <a:rPr lang="en-US" sz="1200">
                <a:solidFill>
                  <a:srgbClr val="1E1E1E"/>
                </a:solidFill>
              </a:rPr>
              <a:t>involving conflicting expectations, group pressures, or emerging technologies, demonstrating clarity of reasoning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1E1E1E"/>
                </a:solidFill>
              </a:rPr>
              <a:t>Articulate a personal “</a:t>
            </a:r>
            <a:r>
              <a:rPr lang="en-US" sz="1200" b="1">
                <a:solidFill>
                  <a:srgbClr val="1E1E1E"/>
                </a:solidFill>
              </a:rPr>
              <a:t>Ethical Leadership Framework</a:t>
            </a:r>
            <a:r>
              <a:rPr lang="en-US" sz="1200">
                <a:solidFill>
                  <a:srgbClr val="1E1E1E"/>
                </a:solidFill>
              </a:rPr>
              <a:t>” synthesizing course readings, values, and cadet identity as future UAE office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5014FFE-EF29-ADDC-345C-19F6517BC77D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Curriculum – Philosoph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925E7FC-8332-0C0F-2F20-95F53D38594D}"/>
              </a:ext>
            </a:extLst>
          </p:cNvPr>
          <p:cNvSpPr/>
          <p:nvPr/>
        </p:nvSpPr>
        <p:spPr>
          <a:xfrm>
            <a:off x="8269398" y="1613195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ding 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st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0DB8B82-40B3-49A7-259F-5B9EDF024271}"/>
              </a:ext>
            </a:extLst>
          </p:cNvPr>
          <p:cNvSpPr/>
          <p:nvPr/>
        </p:nvSpPr>
        <p:spPr>
          <a:xfrm>
            <a:off x="546100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0026554-7818-4816-0285-D9EE71400FAE}"/>
              </a:ext>
            </a:extLst>
          </p:cNvPr>
          <p:cNvSpPr/>
          <p:nvPr/>
        </p:nvSpPr>
        <p:spPr>
          <a:xfrm>
            <a:off x="4407749" y="1609864"/>
            <a:ext cx="3373120" cy="8464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rning 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comes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9DDFA111-3BDC-D516-462B-5413E0D150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51175" y="1653660"/>
            <a:ext cx="758825" cy="758825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54ECC7B9-D90E-D732-A367-0D45AB86DF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2392" y="1653660"/>
            <a:ext cx="758825" cy="758825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B68C5C0C-B141-4ECE-6636-9FF45DF5D69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13608" y="1653660"/>
            <a:ext cx="758825" cy="758825"/>
          </a:xfrm>
          <a:prstGeom prst="rect">
            <a:avLst/>
          </a:prstGeom>
        </p:spPr>
      </p:pic>
      <p:sp>
        <p:nvSpPr>
          <p:cNvPr id="56" name="Right Triangle 55">
            <a:extLst>
              <a:ext uri="{FF2B5EF4-FFF2-40B4-BE49-F238E27FC236}">
                <a16:creationId xmlns:a16="http://schemas.microsoft.com/office/drawing/2014/main" id="{FE1CD435-4192-CFAB-2FB9-BA41827FB6A5}"/>
              </a:ext>
            </a:extLst>
          </p:cNvPr>
          <p:cNvSpPr/>
          <p:nvPr/>
        </p:nvSpPr>
        <p:spPr>
          <a:xfrm rot="16200000">
            <a:off x="8278820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Right Triangle 56">
            <a:extLst>
              <a:ext uri="{FF2B5EF4-FFF2-40B4-BE49-F238E27FC236}">
                <a16:creationId xmlns:a16="http://schemas.microsoft.com/office/drawing/2014/main" id="{B842C0DA-BEF4-F138-F5C9-DF06D3C0ECB1}"/>
              </a:ext>
            </a:extLst>
          </p:cNvPr>
          <p:cNvSpPr/>
          <p:nvPr/>
        </p:nvSpPr>
        <p:spPr>
          <a:xfrm rot="16200000">
            <a:off x="555522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Right Triangle 57">
            <a:extLst>
              <a:ext uri="{FF2B5EF4-FFF2-40B4-BE49-F238E27FC236}">
                <a16:creationId xmlns:a16="http://schemas.microsoft.com/office/drawing/2014/main" id="{4EA45631-5C04-C86E-B373-FFD5F00A7AE6}"/>
              </a:ext>
            </a:extLst>
          </p:cNvPr>
          <p:cNvSpPr/>
          <p:nvPr/>
        </p:nvSpPr>
        <p:spPr>
          <a:xfrm rot="16200000">
            <a:off x="4417171" y="1399458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Right Triangle 58">
            <a:extLst>
              <a:ext uri="{FF2B5EF4-FFF2-40B4-BE49-F238E27FC236}">
                <a16:creationId xmlns:a16="http://schemas.microsoft.com/office/drawing/2014/main" id="{ECC07855-8770-E90D-9548-4B8DE48BA646}"/>
              </a:ext>
            </a:extLst>
          </p:cNvPr>
          <p:cNvSpPr/>
          <p:nvPr/>
        </p:nvSpPr>
        <p:spPr>
          <a:xfrm>
            <a:off x="11424078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Right Triangle 59">
            <a:extLst>
              <a:ext uri="{FF2B5EF4-FFF2-40B4-BE49-F238E27FC236}">
                <a16:creationId xmlns:a16="http://schemas.microsoft.com/office/drawing/2014/main" id="{8146DDA8-5CE2-C23C-B657-6C7636386368}"/>
              </a:ext>
            </a:extLst>
          </p:cNvPr>
          <p:cNvSpPr/>
          <p:nvPr/>
        </p:nvSpPr>
        <p:spPr>
          <a:xfrm>
            <a:off x="3700780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Right Triangle 60">
            <a:extLst>
              <a:ext uri="{FF2B5EF4-FFF2-40B4-BE49-F238E27FC236}">
                <a16:creationId xmlns:a16="http://schemas.microsoft.com/office/drawing/2014/main" id="{BEBABEFA-EA6E-D689-0034-4197412B9A75}"/>
              </a:ext>
            </a:extLst>
          </p:cNvPr>
          <p:cNvSpPr/>
          <p:nvPr/>
        </p:nvSpPr>
        <p:spPr>
          <a:xfrm>
            <a:off x="7562429" y="1390036"/>
            <a:ext cx="218440" cy="23728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E41336-7D78-D342-9181-23DD84D99DB6}"/>
              </a:ext>
            </a:extLst>
          </p:cNvPr>
          <p:cNvSpPr/>
          <p:nvPr/>
        </p:nvSpPr>
        <p:spPr>
          <a:xfrm>
            <a:off x="2964131" y="6268799"/>
            <a:ext cx="6263739" cy="388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 b="1" i="1">
                <a:solidFill>
                  <a:schemeClr val="tx1"/>
                </a:solidFill>
              </a:rPr>
              <a:t>Preliminary Curriculum to be piloted in 2026 by SUAD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7F215F7-339D-BF73-C285-1DF135D70451}"/>
              </a:ext>
            </a:extLst>
          </p:cNvPr>
          <p:cNvSpPr txBox="1">
            <a:spLocks/>
          </p:cNvSpPr>
          <p:nvPr/>
        </p:nvSpPr>
        <p:spPr>
          <a:xfrm>
            <a:off x="389710" y="389713"/>
            <a:ext cx="8954316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Philosophy course equips cadets with ethical reasoning tools to analyze various dilemmas and apply them on real-life military scenario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869D721-5787-F22A-EDEB-42CFB0271EE9}"/>
              </a:ext>
            </a:extLst>
          </p:cNvPr>
          <p:cNvSpPr/>
          <p:nvPr/>
        </p:nvSpPr>
        <p:spPr>
          <a:xfrm>
            <a:off x="9525614" y="995462"/>
            <a:ext cx="2286000" cy="152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liminary, Non-Exhaustive</a:t>
            </a:r>
          </a:p>
        </p:txBody>
      </p:sp>
    </p:spTree>
    <p:extLst>
      <p:ext uri="{BB962C8B-B14F-4D97-AF65-F5344CB8AC3E}">
        <p14:creationId xmlns:p14="http://schemas.microsoft.com/office/powerpoint/2010/main" val="32164683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5021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52CF3C-FCD3-2DC9-BFE2-478F087192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Agenda</a:t>
            </a:r>
          </a:p>
          <a:p>
            <a:r>
              <a:rPr lang="en-US"/>
              <a:t>GenEd Overview</a:t>
            </a:r>
          </a:p>
          <a:p>
            <a:r>
              <a:rPr lang="en-US">
                <a:solidFill>
                  <a:srgbClr val="E8E8E8"/>
                </a:solidFill>
              </a:rPr>
              <a:t>IOC GenEd Concept</a:t>
            </a:r>
          </a:p>
          <a:p>
            <a:r>
              <a:rPr lang="en-US">
                <a:solidFill>
                  <a:srgbClr val="E8E8E8"/>
                </a:solidFill>
              </a:rPr>
              <a:t>IOC GenEd Curriculum</a:t>
            </a:r>
          </a:p>
          <a:p>
            <a:r>
              <a:rPr lang="en-US">
                <a:solidFill>
                  <a:srgbClr val="E8E8E8"/>
                </a:solidFill>
              </a:rPr>
              <a:t>IOC GenEd Refinements</a:t>
            </a:r>
          </a:p>
        </p:txBody>
      </p:sp>
    </p:spTree>
    <p:extLst>
      <p:ext uri="{BB962C8B-B14F-4D97-AF65-F5344CB8AC3E}">
        <p14:creationId xmlns:p14="http://schemas.microsoft.com/office/powerpoint/2010/main" val="3464209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1F9D5-22F2-634C-1E8A-C89B979A03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78FAB3D-6507-C6F4-DFC4-76A341A749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64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8FAB3D-6507-C6F4-DFC4-76A341A749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A8BA7216-0A3C-5CF9-EB96-9B88DF433CDB}"/>
              </a:ext>
            </a:extLst>
          </p:cNvPr>
          <p:cNvSpPr/>
          <p:nvPr/>
        </p:nvSpPr>
        <p:spPr>
          <a:xfrm>
            <a:off x="6165849" y="3072525"/>
            <a:ext cx="5645151" cy="327134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200" err="1">
              <a:solidFill>
                <a:schemeClr val="tx1"/>
              </a:solidFill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80392B86-ECAD-0C8D-394D-F80601A0D1D7}"/>
              </a:ext>
            </a:extLst>
          </p:cNvPr>
          <p:cNvSpPr/>
          <p:nvPr/>
        </p:nvSpPr>
        <p:spPr>
          <a:xfrm>
            <a:off x="6594932" y="3327569"/>
            <a:ext cx="5097880" cy="684943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>
              <a:lnSpc>
                <a:spcPct val="9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Align </a:t>
            </a:r>
            <a:r>
              <a:rPr lang="en-US" sz="1200" b="1">
                <a:solidFill>
                  <a:srgbClr val="000000"/>
                </a:solidFill>
                <a:latin typeface="Arial" panose="020B0604020202020204" pitchFamily="34" charset="0"/>
              </a:rPr>
              <a:t>course content </a:t>
            </a: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with </a:t>
            </a:r>
            <a:r>
              <a:rPr lang="en-US" sz="1200" b="1">
                <a:solidFill>
                  <a:srgbClr val="000000"/>
                </a:solidFill>
                <a:latin typeface="Arial" panose="020B0604020202020204" pitchFamily="34" charset="0"/>
              </a:rPr>
              <a:t>ZMU leadership priorities </a:t>
            </a: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while fully respecting Academic Partner (AP)</a:t>
            </a:r>
            <a:r>
              <a:rPr lang="en-US" sz="1200" b="1">
                <a:solidFill>
                  <a:srgbClr val="000000"/>
                </a:solidFill>
                <a:latin typeface="Arial" panose="020B0604020202020204" pitchFamily="34" charset="0"/>
              </a:rPr>
              <a:t> academic autonomy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CF5C5C5-B34E-93A6-5016-89B0B6657D83}"/>
              </a:ext>
            </a:extLst>
          </p:cNvPr>
          <p:cNvSpPr/>
          <p:nvPr/>
        </p:nvSpPr>
        <p:spPr>
          <a:xfrm>
            <a:off x="6594932" y="4104688"/>
            <a:ext cx="5097880" cy="684943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>
              <a:lnSpc>
                <a:spcPct val="9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Build a shared </a:t>
            </a:r>
            <a:r>
              <a:rPr lang="en-US" sz="1200" b="1">
                <a:solidFill>
                  <a:srgbClr val="000000"/>
                </a:solidFill>
                <a:latin typeface="Arial" panose="020B0604020202020204" pitchFamily="34" charset="0"/>
              </a:rPr>
              <a:t>cross-Academic Partner curriculum </a:t>
            </a: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that </a:t>
            </a:r>
            <a:b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strengthens </a:t>
            </a:r>
            <a:r>
              <a:rPr lang="en-US" sz="1200" b="1">
                <a:solidFill>
                  <a:srgbClr val="000000"/>
                </a:solidFill>
                <a:latin typeface="Arial" panose="020B0604020202020204" pitchFamily="34" charset="0"/>
              </a:rPr>
              <a:t>academic </a:t>
            </a:r>
            <a:r>
              <a:rPr lang="en-US" sz="1200" b="1" err="1">
                <a:solidFill>
                  <a:srgbClr val="000000"/>
                </a:solidFill>
                <a:latin typeface="Arial" panose="020B0604020202020204" pitchFamily="34" charset="0"/>
              </a:rPr>
              <a:t>jointery</a:t>
            </a:r>
            <a:r>
              <a:rPr lang="en-US" sz="1200" b="1">
                <a:solidFill>
                  <a:srgbClr val="000000"/>
                </a:solidFill>
                <a:latin typeface="Arial" panose="020B0604020202020204" pitchFamily="34" charset="0"/>
              </a:rPr>
              <a:t> and intellectual coherence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48FAB44D-CA35-3F82-3BDB-1C52B1F363C6}"/>
              </a:ext>
            </a:extLst>
          </p:cNvPr>
          <p:cNvSpPr/>
          <p:nvPr/>
        </p:nvSpPr>
        <p:spPr>
          <a:xfrm>
            <a:off x="6594932" y="4881806"/>
            <a:ext cx="5097880" cy="684943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>
              <a:buClr>
                <a:srgbClr val="1E1E1E"/>
              </a:buClr>
              <a:buSzPct val="100000"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Link GenEd course outcomes that build towards </a:t>
            </a:r>
            <a:r>
              <a:rPr lang="en-US" sz="1200" b="1">
                <a:solidFill>
                  <a:srgbClr val="000000"/>
                </a:solidFill>
                <a:latin typeface="Arial" panose="020B0604020202020204" pitchFamily="34" charset="0"/>
              </a:rPr>
              <a:t>one coherent leadership portfolio </a:t>
            </a: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unique to each cadet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3FEDE5A-0374-AF4C-50DB-C5FBF2A15285}"/>
              </a:ext>
            </a:extLst>
          </p:cNvPr>
          <p:cNvSpPr/>
          <p:nvPr/>
        </p:nvSpPr>
        <p:spPr>
          <a:xfrm>
            <a:off x="6594932" y="5658925"/>
            <a:ext cx="5097880" cy="684943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>
              <a:lnSpc>
                <a:spcPct val="90000"/>
              </a:lnSpc>
            </a:pPr>
            <a:r>
              <a:rPr lang="en-US" sz="1200" b="1">
                <a:solidFill>
                  <a:srgbClr val="000000"/>
                </a:solidFill>
                <a:latin typeface="Arial" panose="020B0604020202020204" pitchFamily="34" charset="0"/>
              </a:rPr>
              <a:t>Integrate academic leadership </a:t>
            </a: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and skills content </a:t>
            </a:r>
            <a:r>
              <a:rPr lang="en-US" sz="1200" b="1">
                <a:solidFill>
                  <a:srgbClr val="000000"/>
                </a:solidFill>
                <a:latin typeface="Arial" panose="020B0604020202020204" pitchFamily="34" charset="0"/>
              </a:rPr>
              <a:t>with ZMU’s Leadership Development System </a:t>
            </a: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(developed across capstone assessments)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44F8156-6D44-0011-9680-97B21FBADA30}"/>
              </a:ext>
            </a:extLst>
          </p:cNvPr>
          <p:cNvSpPr/>
          <p:nvPr/>
        </p:nvSpPr>
        <p:spPr>
          <a:xfrm>
            <a:off x="6236523" y="3327569"/>
            <a:ext cx="358408" cy="684943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>
              <a:lnSpc>
                <a:spcPct val="90000"/>
              </a:lnSpc>
            </a:pPr>
            <a:r>
              <a:rPr lang="en-US" sz="2800" b="1">
                <a:solidFill>
                  <a:srgbClr val="000000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55E8FF4-1C6D-913E-D1B4-813611815E0D}"/>
              </a:ext>
            </a:extLst>
          </p:cNvPr>
          <p:cNvSpPr/>
          <p:nvPr/>
        </p:nvSpPr>
        <p:spPr>
          <a:xfrm>
            <a:off x="6236523" y="4104688"/>
            <a:ext cx="358408" cy="684943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>
              <a:lnSpc>
                <a:spcPct val="90000"/>
              </a:lnSpc>
            </a:pPr>
            <a:r>
              <a:rPr lang="en-US" sz="2800" b="1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480EBF2F-EB1E-1BA5-B241-5C7B3427D49A}"/>
              </a:ext>
            </a:extLst>
          </p:cNvPr>
          <p:cNvSpPr/>
          <p:nvPr/>
        </p:nvSpPr>
        <p:spPr>
          <a:xfrm>
            <a:off x="6236523" y="4881806"/>
            <a:ext cx="358408" cy="684943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>
              <a:lnSpc>
                <a:spcPct val="90000"/>
              </a:lnSpc>
            </a:pPr>
            <a:r>
              <a:rPr lang="en-US" sz="2800" b="1">
                <a:solidFill>
                  <a:srgbClr val="000000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3EDA87CE-E8B8-FCA4-8B80-EF815C11C48C}"/>
              </a:ext>
            </a:extLst>
          </p:cNvPr>
          <p:cNvSpPr/>
          <p:nvPr/>
        </p:nvSpPr>
        <p:spPr>
          <a:xfrm>
            <a:off x="6236523" y="5658925"/>
            <a:ext cx="358408" cy="684943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>
              <a:lnSpc>
                <a:spcPct val="90000"/>
              </a:lnSpc>
            </a:pPr>
            <a:r>
              <a:rPr lang="en-US" sz="2800" b="1">
                <a:solidFill>
                  <a:srgbClr val="000000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A65C6FA-5611-29AE-69E9-2138533EFFB1}"/>
              </a:ext>
            </a:extLst>
          </p:cNvPr>
          <p:cNvSpPr/>
          <p:nvPr/>
        </p:nvSpPr>
        <p:spPr>
          <a:xfrm>
            <a:off x="381000" y="3072525"/>
            <a:ext cx="5645150" cy="327134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2B6D9F6-1D19-1FF7-8586-8E5F9538784D}"/>
              </a:ext>
            </a:extLst>
          </p:cNvPr>
          <p:cNvSpPr/>
          <p:nvPr/>
        </p:nvSpPr>
        <p:spPr>
          <a:xfrm>
            <a:off x="455576" y="3147098"/>
            <a:ext cx="2586067" cy="967375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buClr>
                <a:srgbClr val="1E1E1E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Advanced English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A370CFE-1207-4355-6056-C79B1C643F37}"/>
              </a:ext>
            </a:extLst>
          </p:cNvPr>
          <p:cNvSpPr/>
          <p:nvPr/>
        </p:nvSpPr>
        <p:spPr>
          <a:xfrm>
            <a:off x="455576" y="4261796"/>
            <a:ext cx="2586067" cy="967375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buClr>
                <a:srgbClr val="1E1E1E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Emirati Studie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5224D4A-D146-FDA9-C715-BE947E9A4312}"/>
              </a:ext>
            </a:extLst>
          </p:cNvPr>
          <p:cNvSpPr/>
          <p:nvPr/>
        </p:nvSpPr>
        <p:spPr>
          <a:xfrm>
            <a:off x="455576" y="5376494"/>
            <a:ext cx="2586067" cy="967375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buClr>
                <a:srgbClr val="1E1E1E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Innovation, </a:t>
            </a:r>
            <a:br>
              <a:rPr lang="en-US" sz="1200" b="1">
                <a:solidFill>
                  <a:schemeClr val="tx1"/>
                </a:solidFill>
              </a:rPr>
            </a:br>
            <a:r>
              <a:rPr lang="en-US" sz="1200" b="1">
                <a:solidFill>
                  <a:schemeClr val="tx1"/>
                </a:solidFill>
              </a:rPr>
              <a:t>Entrepreneurship</a:t>
            </a:r>
          </a:p>
          <a:p>
            <a:pPr algn="ctr">
              <a:buClr>
                <a:srgbClr val="1E1E1E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&amp; Sustainability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20FCA54-8E95-2021-5E23-22394F78E7C5}"/>
              </a:ext>
            </a:extLst>
          </p:cNvPr>
          <p:cNvGrpSpPr/>
          <p:nvPr/>
        </p:nvGrpSpPr>
        <p:grpSpPr>
          <a:xfrm>
            <a:off x="381000" y="2533870"/>
            <a:ext cx="11430001" cy="538655"/>
            <a:chOff x="381000" y="-1137557"/>
            <a:chExt cx="11430001" cy="538655"/>
          </a:xfrm>
        </p:grpSpPr>
        <p:pic>
          <p:nvPicPr>
            <p:cNvPr id="43" name="Picture 42" descr="A close-up of a building&#10;&#10;Description automatically generated with low confidence">
              <a:extLst>
                <a:ext uri="{FF2B5EF4-FFF2-40B4-BE49-F238E27FC236}">
                  <a16:creationId xmlns:a16="http://schemas.microsoft.com/office/drawing/2014/main" id="{63AD8B24-3CE9-E4B1-1FF3-DD820F178A58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5" t="59336" r="50573" b="34039"/>
            <a:stretch>
              <a:fillRect/>
            </a:stretch>
          </p:blipFill>
          <p:spPr>
            <a:xfrm>
              <a:off x="381000" y="-1137557"/>
              <a:ext cx="5645150" cy="538655"/>
            </a:xfrm>
            <a:custGeom>
              <a:avLst/>
              <a:gdLst>
                <a:gd name="connsiteX0" fmla="*/ 43200 w 5645150"/>
                <a:gd name="connsiteY0" fmla="*/ 0 h 538655"/>
                <a:gd name="connsiteX1" fmla="*/ 5601950 w 5645150"/>
                <a:gd name="connsiteY1" fmla="*/ 0 h 538655"/>
                <a:gd name="connsiteX2" fmla="*/ 5645150 w 5645150"/>
                <a:gd name="connsiteY2" fmla="*/ 43200 h 538655"/>
                <a:gd name="connsiteX3" fmla="*/ 5645150 w 5645150"/>
                <a:gd name="connsiteY3" fmla="*/ 538655 h 538655"/>
                <a:gd name="connsiteX4" fmla="*/ 0 w 5645150"/>
                <a:gd name="connsiteY4" fmla="*/ 538655 h 538655"/>
                <a:gd name="connsiteX5" fmla="*/ 0 w 5645150"/>
                <a:gd name="connsiteY5" fmla="*/ 43200 h 538655"/>
                <a:gd name="connsiteX6" fmla="*/ 43200 w 5645150"/>
                <a:gd name="connsiteY6" fmla="*/ 0 h 5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45150" h="538655">
                  <a:moveTo>
                    <a:pt x="43200" y="0"/>
                  </a:moveTo>
                  <a:lnTo>
                    <a:pt x="5601950" y="0"/>
                  </a:lnTo>
                  <a:cubicBezTo>
                    <a:pt x="5625809" y="0"/>
                    <a:pt x="5645150" y="19341"/>
                    <a:pt x="5645150" y="43200"/>
                  </a:cubicBezTo>
                  <a:lnTo>
                    <a:pt x="5645150" y="538655"/>
                  </a:lnTo>
                  <a:lnTo>
                    <a:pt x="0" y="538655"/>
                  </a:lnTo>
                  <a:lnTo>
                    <a:pt x="0" y="43200"/>
                  </a:lnTo>
                  <a:cubicBezTo>
                    <a:pt x="0" y="19341"/>
                    <a:pt x="19341" y="0"/>
                    <a:pt x="43200" y="0"/>
                  </a:cubicBezTo>
                  <a:close/>
                </a:path>
              </a:pathLst>
            </a:custGeom>
          </p:spPr>
        </p:pic>
        <p:pic>
          <p:nvPicPr>
            <p:cNvPr id="42" name="Picture 41" descr="A close-up of a building&#10;&#10;Description automatically generated with low confidence">
              <a:extLst>
                <a:ext uri="{FF2B5EF4-FFF2-40B4-BE49-F238E27FC236}">
                  <a16:creationId xmlns:a16="http://schemas.microsoft.com/office/drawing/2014/main" id="{A50E9848-92E7-6E5E-1904-57341BB66231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573" t="59336" r="3125" b="34039"/>
            <a:stretch>
              <a:fillRect/>
            </a:stretch>
          </p:blipFill>
          <p:spPr>
            <a:xfrm>
              <a:off x="6165850" y="-1137557"/>
              <a:ext cx="5645151" cy="538655"/>
            </a:xfrm>
            <a:custGeom>
              <a:avLst/>
              <a:gdLst>
                <a:gd name="connsiteX0" fmla="*/ 43200 w 5645151"/>
                <a:gd name="connsiteY0" fmla="*/ 0 h 538655"/>
                <a:gd name="connsiteX1" fmla="*/ 5601951 w 5645151"/>
                <a:gd name="connsiteY1" fmla="*/ 0 h 538655"/>
                <a:gd name="connsiteX2" fmla="*/ 5645151 w 5645151"/>
                <a:gd name="connsiteY2" fmla="*/ 43200 h 538655"/>
                <a:gd name="connsiteX3" fmla="*/ 5645151 w 5645151"/>
                <a:gd name="connsiteY3" fmla="*/ 538655 h 538655"/>
                <a:gd name="connsiteX4" fmla="*/ 0 w 5645151"/>
                <a:gd name="connsiteY4" fmla="*/ 538655 h 538655"/>
                <a:gd name="connsiteX5" fmla="*/ 0 w 5645151"/>
                <a:gd name="connsiteY5" fmla="*/ 43200 h 538655"/>
                <a:gd name="connsiteX6" fmla="*/ 43200 w 5645151"/>
                <a:gd name="connsiteY6" fmla="*/ 0 h 5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45151" h="538655">
                  <a:moveTo>
                    <a:pt x="43200" y="0"/>
                  </a:moveTo>
                  <a:lnTo>
                    <a:pt x="5601951" y="0"/>
                  </a:lnTo>
                  <a:cubicBezTo>
                    <a:pt x="5625810" y="0"/>
                    <a:pt x="5645151" y="19341"/>
                    <a:pt x="5645151" y="43200"/>
                  </a:cubicBezTo>
                  <a:lnTo>
                    <a:pt x="5645151" y="538655"/>
                  </a:lnTo>
                  <a:lnTo>
                    <a:pt x="0" y="538655"/>
                  </a:lnTo>
                  <a:lnTo>
                    <a:pt x="0" y="43200"/>
                  </a:lnTo>
                  <a:cubicBezTo>
                    <a:pt x="0" y="19341"/>
                    <a:pt x="19341" y="0"/>
                    <a:pt x="43200" y="0"/>
                  </a:cubicBezTo>
                  <a:close/>
                </a:path>
              </a:pathLst>
            </a:custGeom>
          </p:spPr>
        </p:pic>
      </p:grpSp>
      <p:pic>
        <p:nvPicPr>
          <p:cNvPr id="2" name="Picture 1" descr="A close-up of a building&#10;&#10;Description automatically generated with low confidence">
            <a:extLst>
              <a:ext uri="{FF2B5EF4-FFF2-40B4-BE49-F238E27FC236}">
                <a16:creationId xmlns:a16="http://schemas.microsoft.com/office/drawing/2014/main" id="{5F87FF0D-74E6-1F35-8F0D-C2C467392A28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383" b="42383"/>
          <a:stretch>
            <a:fillRect/>
          </a:stretch>
        </p:blipFill>
        <p:spPr>
          <a:xfrm>
            <a:off x="0" y="1232841"/>
            <a:ext cx="12192000" cy="12385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FFA274C-4AF8-A138-57B7-3DB1AEF2072A}"/>
              </a:ext>
            </a:extLst>
          </p:cNvPr>
          <p:cNvSpPr/>
          <p:nvPr/>
        </p:nvSpPr>
        <p:spPr>
          <a:xfrm>
            <a:off x="0" y="1232841"/>
            <a:ext cx="12192000" cy="123858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  <a:alpha val="90000"/>
                </a:schemeClr>
              </a:gs>
              <a:gs pos="100000">
                <a:schemeClr val="accent6">
                  <a:lumMod val="97000"/>
                  <a:lumOff val="3000"/>
                  <a:alpha val="9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lnSpc>
                <a:spcPct val="90000"/>
              </a:lnSpc>
            </a:pPr>
            <a:endParaRPr lang="en-GB" sz="1400" b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D8CE38-6E0C-F948-48DC-67DC7416B6F2}"/>
              </a:ext>
            </a:extLst>
          </p:cNvPr>
          <p:cNvSpPr/>
          <p:nvPr/>
        </p:nvSpPr>
        <p:spPr>
          <a:xfrm>
            <a:off x="389708" y="1409219"/>
            <a:ext cx="11421289" cy="885825"/>
          </a:xfrm>
          <a:prstGeom prst="roundRect">
            <a:avLst>
              <a:gd name="adj" fmla="val 5505"/>
            </a:avLst>
          </a:prstGeom>
          <a:gradFill flip="none" rotWithShape="1"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5000"/>
                </a:schemeClr>
              </a:gs>
            </a:gsLst>
            <a:lin ang="13500000" scaled="1"/>
            <a:tileRect/>
          </a:gradFill>
          <a:ln w="6350" cap="flat" cmpd="sng" algn="ctr">
            <a:solidFill>
              <a:schemeClr val="bg1">
                <a:alpha val="3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88000" tIns="46800" rIns="468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93393"/>
            <a:r>
              <a:rPr lang="en-US" sz="1600" b="1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  <a:cs typeface="Arial"/>
              </a:rPr>
              <a:t>DEFINITION BY CAA</a:t>
            </a:r>
          </a:p>
          <a:p>
            <a:pPr defTabSz="693393">
              <a:spcBef>
                <a:spcPts val="400"/>
              </a:spcBef>
            </a:pPr>
            <a:r>
              <a:rPr lang="en-US" sz="1400">
                <a:solidFill>
                  <a:schemeClr val="bg1"/>
                </a:solidFill>
                <a:latin typeface="+mj-lt"/>
                <a:cs typeface="Arial"/>
              </a:rPr>
              <a:t>General Education is a broad foundation that equips every graduate with </a:t>
            </a:r>
            <a:r>
              <a:rPr lang="en-US" sz="1400" b="1">
                <a:solidFill>
                  <a:schemeClr val="bg1"/>
                </a:solidFill>
                <a:latin typeface="+mj-lt"/>
                <a:cs typeface="Arial"/>
              </a:rPr>
              <a:t>essential skills for the 21</a:t>
            </a:r>
            <a:r>
              <a:rPr lang="en-US" sz="1400" b="1" baseline="30000">
                <a:solidFill>
                  <a:schemeClr val="bg1"/>
                </a:solidFill>
                <a:latin typeface="+mj-lt"/>
                <a:cs typeface="Arial"/>
              </a:rPr>
              <a:t>st</a:t>
            </a:r>
            <a:r>
              <a:rPr lang="en-US" sz="1400" b="1">
                <a:solidFill>
                  <a:schemeClr val="bg1"/>
                </a:solidFill>
                <a:latin typeface="+mj-lt"/>
                <a:cs typeface="Arial"/>
              </a:rPr>
              <a:t> century </a:t>
            </a:r>
            <a:r>
              <a:rPr lang="en-US" sz="1400">
                <a:solidFill>
                  <a:schemeClr val="bg1"/>
                </a:solidFill>
                <a:latin typeface="+mj-lt"/>
                <a:cs typeface="Arial"/>
              </a:rPr>
              <a:t>through at least 18 credits across humanities, social and natural sciences, and UAE-specific studies</a:t>
            </a: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9819EABA-8811-F03A-3145-759A724BFE98}"/>
              </a:ext>
            </a:extLst>
          </p:cNvPr>
          <p:cNvSpPr/>
          <p:nvPr/>
        </p:nvSpPr>
        <p:spPr>
          <a:xfrm rot="5400000">
            <a:off x="1062423" y="870253"/>
            <a:ext cx="618332" cy="19637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12700">
            <a:gradFill flip="none" rotWithShape="1">
              <a:gsLst>
                <a:gs pos="67000">
                  <a:schemeClr val="bg2">
                    <a:alpha val="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4EBE05C-D0D9-CFC0-FFF5-B5818D3CAEEE}"/>
              </a:ext>
            </a:extLst>
          </p:cNvPr>
          <p:cNvCxnSpPr>
            <a:cxnSpLocks/>
          </p:cNvCxnSpPr>
          <p:nvPr/>
        </p:nvCxnSpPr>
        <p:spPr>
          <a:xfrm>
            <a:off x="389708" y="1676712"/>
            <a:ext cx="0" cy="350838"/>
          </a:xfrm>
          <a:prstGeom prst="line">
            <a:avLst/>
          </a:prstGeom>
          <a:ln w="28575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A close-up of a document&#10;&#10;AI-generated content may be incorrect.">
            <a:extLst>
              <a:ext uri="{FF2B5EF4-FFF2-40B4-BE49-F238E27FC236}">
                <a16:creationId xmlns:a16="http://schemas.microsoft.com/office/drawing/2014/main" id="{F3CCFC20-F2EE-8CB9-60B1-8D2FBBC5A4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74" t="-1" r="-262" b="69550"/>
          <a:stretch>
            <a:fillRect/>
          </a:stretch>
        </p:blipFill>
        <p:spPr>
          <a:xfrm>
            <a:off x="476800" y="1574962"/>
            <a:ext cx="1740717" cy="554340"/>
          </a:xfrm>
          <a:prstGeom prst="roundRect">
            <a:avLst>
              <a:gd name="adj" fmla="val 27406"/>
            </a:avLst>
          </a:prstGeom>
        </p:spPr>
      </p:pic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152EC229-B3AD-5004-CDDC-640946D5697A}"/>
              </a:ext>
            </a:extLst>
          </p:cNvPr>
          <p:cNvSpPr/>
          <p:nvPr/>
        </p:nvSpPr>
        <p:spPr>
          <a:xfrm>
            <a:off x="381000" y="2533870"/>
            <a:ext cx="5645150" cy="538655"/>
          </a:xfrm>
          <a:prstGeom prst="round2SameRect">
            <a:avLst>
              <a:gd name="adj1" fmla="val 8020"/>
              <a:gd name="adj2" fmla="val 0"/>
            </a:avLst>
          </a:prstGeom>
          <a:gradFill flip="none" rotWithShape="1">
            <a:gsLst>
              <a:gs pos="0">
                <a:schemeClr val="accent6">
                  <a:lumMod val="67000"/>
                  <a:alpha val="90000"/>
                </a:schemeClr>
              </a:gs>
              <a:gs pos="100000">
                <a:schemeClr val="accent6">
                  <a:lumMod val="97000"/>
                  <a:lumOff val="3000"/>
                  <a:alpha val="9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l">
              <a:lnSpc>
                <a:spcPct val="90000"/>
              </a:lnSpc>
            </a:pPr>
            <a:r>
              <a:rPr lang="en-US" sz="1400" b="1">
                <a:solidFill>
                  <a:schemeClr val="bg1"/>
                </a:solidFill>
              </a:rPr>
              <a:t>GenEd REQUIRES 6 COURSES</a:t>
            </a:r>
          </a:p>
          <a:p>
            <a:pPr algn="l">
              <a:lnSpc>
                <a:spcPct val="90000"/>
              </a:lnSpc>
            </a:pPr>
            <a:r>
              <a:rPr lang="en-US" sz="1200">
                <a:solidFill>
                  <a:schemeClr val="bg1"/>
                </a:solidFill>
              </a:rPr>
              <a:t>(18 CREDIT HOURS)</a:t>
            </a: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59AAE8D6-A246-C64D-981D-3498A82437D2}"/>
              </a:ext>
            </a:extLst>
          </p:cNvPr>
          <p:cNvSpPr/>
          <p:nvPr/>
        </p:nvSpPr>
        <p:spPr>
          <a:xfrm>
            <a:off x="6165849" y="2533870"/>
            <a:ext cx="5645151" cy="538655"/>
          </a:xfrm>
          <a:prstGeom prst="round2SameRect">
            <a:avLst>
              <a:gd name="adj1" fmla="val 8020"/>
              <a:gd name="adj2" fmla="val 0"/>
            </a:avLst>
          </a:prstGeom>
          <a:solidFill>
            <a:schemeClr val="tx2">
              <a:alpha val="85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18288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solidFill>
                  <a:schemeClr val="bg1"/>
                </a:solidFill>
              </a:rPr>
              <a:t>OPPORTUNITIES FOR ZMU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898D457-6097-C491-27EF-C31B07B449F9}"/>
              </a:ext>
            </a:extLst>
          </p:cNvPr>
          <p:cNvSpPr/>
          <p:nvPr/>
        </p:nvSpPr>
        <p:spPr>
          <a:xfrm>
            <a:off x="3365507" y="3140842"/>
            <a:ext cx="2586067" cy="3203028"/>
          </a:xfrm>
          <a:prstGeom prst="roundRect">
            <a:avLst>
              <a:gd name="adj" fmla="val 2765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buClr>
                <a:srgbClr val="1E1E1E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Three Elective Courses</a:t>
            </a:r>
          </a:p>
        </p:txBody>
      </p:sp>
      <p:pic>
        <p:nvPicPr>
          <p:cNvPr id="1028" name="Picture 4" descr="Hourglass Kawaii Lineal icon">
            <a:extLst>
              <a:ext uri="{FF2B5EF4-FFF2-40B4-BE49-F238E27FC236}">
                <a16:creationId xmlns:a16="http://schemas.microsoft.com/office/drawing/2014/main" id="{A39C4444-F66C-0FC9-8B59-E6DFDB93B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9552" y="2602187"/>
            <a:ext cx="402021" cy="40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Question Generic outline icon">
            <a:extLst>
              <a:ext uri="{FF2B5EF4-FFF2-40B4-BE49-F238E27FC236}">
                <a16:creationId xmlns:a16="http://schemas.microsoft.com/office/drawing/2014/main" id="{FB6BC0A7-B243-5817-3205-73214131B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403" y="2602187"/>
            <a:ext cx="402021" cy="40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anguage learning Generic Detailed Outline icon">
            <a:extLst>
              <a:ext uri="{FF2B5EF4-FFF2-40B4-BE49-F238E27FC236}">
                <a16:creationId xmlns:a16="http://schemas.microsoft.com/office/drawing/2014/main" id="{FCAF0A6C-F917-365D-1952-A2C4F7F5C6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289" y="3617854"/>
            <a:ext cx="402021" cy="40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Research Generic black outline icon">
            <a:extLst>
              <a:ext uri="{FF2B5EF4-FFF2-40B4-BE49-F238E27FC236}">
                <a16:creationId xmlns:a16="http://schemas.microsoft.com/office/drawing/2014/main" id="{3DD725A1-B1B4-3521-453A-2A7AAF191D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289" y="4770024"/>
            <a:ext cx="402021" cy="40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nvestment Special Lineal icon">
            <a:extLst>
              <a:ext uri="{FF2B5EF4-FFF2-40B4-BE49-F238E27FC236}">
                <a16:creationId xmlns:a16="http://schemas.microsoft.com/office/drawing/2014/main" id="{ECBFAF96-F646-6193-8C65-F993CEC0B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289" y="5837455"/>
            <a:ext cx="402021" cy="40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Key Generic Detailed Outline icon">
            <a:extLst>
              <a:ext uri="{FF2B5EF4-FFF2-40B4-BE49-F238E27FC236}">
                <a16:creationId xmlns:a16="http://schemas.microsoft.com/office/drawing/2014/main" id="{ABA86EB5-BEDE-F223-F7D3-53E724AEB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4304" y="5919751"/>
            <a:ext cx="402021" cy="40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649CFC63-3349-0FDC-5E2B-6CF22F44DD3E}"/>
              </a:ext>
            </a:extLst>
          </p:cNvPr>
          <p:cNvSpPr txBox="1">
            <a:spLocks/>
          </p:cNvSpPr>
          <p:nvPr/>
        </p:nvSpPr>
        <p:spPr>
          <a:xfrm>
            <a:off x="389709" y="389713"/>
            <a:ext cx="9184059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General Education (GenEd) is a CAA requirement to ensure that students are equipped with common knowledge and skil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60E75A-476A-6349-A175-FD1AD5FF2893}"/>
              </a:ext>
            </a:extLst>
          </p:cNvPr>
          <p:cNvSpPr txBox="1"/>
          <p:nvPr/>
        </p:nvSpPr>
        <p:spPr>
          <a:xfrm>
            <a:off x="548640" y="3326086"/>
            <a:ext cx="420624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4400" b="1">
                <a:solidFill>
                  <a:srgbClr val="D4D4D4"/>
                </a:solidFill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22C7B8-39F5-C379-BBDE-3360B0EA3936}"/>
              </a:ext>
            </a:extLst>
          </p:cNvPr>
          <p:cNvSpPr txBox="1"/>
          <p:nvPr/>
        </p:nvSpPr>
        <p:spPr>
          <a:xfrm>
            <a:off x="610082" y="4440784"/>
            <a:ext cx="420624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4400" b="1">
                <a:solidFill>
                  <a:srgbClr val="D4D4D4"/>
                </a:solidFill>
              </a:rPr>
              <a:t>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DFBCCB-554F-54A6-CB57-BD95BDEAE101}"/>
              </a:ext>
            </a:extLst>
          </p:cNvPr>
          <p:cNvSpPr txBox="1"/>
          <p:nvPr/>
        </p:nvSpPr>
        <p:spPr>
          <a:xfrm>
            <a:off x="3365507" y="4165297"/>
            <a:ext cx="2586066" cy="1154162"/>
          </a:xfrm>
          <a:prstGeom prst="rect">
            <a:avLst/>
          </a:prstGeom>
          <a:noFill/>
        </p:spPr>
        <p:txBody>
          <a:bodyPr wrap="square" lIns="0" tIns="0" rIns="0" bIns="0" numCol="2" rtlCol="0">
            <a:spAutoFit/>
          </a:bodyPr>
          <a:lstStyle/>
          <a:p>
            <a:pPr marL="139700" indent="-139700" algn="ctr"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000" i="1"/>
              <a:t>Humanities</a:t>
            </a:r>
          </a:p>
          <a:p>
            <a:pPr marL="139700" indent="-139700" algn="ctr"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000" i="1"/>
              <a:t>Social and Behavioral Sciences</a:t>
            </a:r>
          </a:p>
          <a:p>
            <a:pPr marL="139700" indent="-139700" algn="ctr"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000" i="1"/>
              <a:t>Natural Sciences</a:t>
            </a:r>
          </a:p>
          <a:p>
            <a:pPr marL="139700" indent="-139700" algn="ctr"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000" i="1"/>
              <a:t>Quantitative Reasoning</a:t>
            </a:r>
          </a:p>
          <a:p>
            <a:pPr marL="139700" indent="-139700" algn="ctr"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000" i="1"/>
              <a:t>Critical Thinking </a:t>
            </a:r>
          </a:p>
          <a:p>
            <a:pPr marL="139700" indent="-139700" algn="ctr"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000" i="1"/>
              <a:t>Health </a:t>
            </a:r>
          </a:p>
          <a:p>
            <a:pPr marL="139700" indent="-139700" algn="ctr"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000" i="1"/>
              <a:t>Sustainability</a:t>
            </a:r>
          </a:p>
          <a:p>
            <a:pPr marL="139700" indent="-139700" algn="ctr">
              <a:spcBef>
                <a:spcPts val="600"/>
              </a:spcBef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000" i="1"/>
              <a:t>Technology &amp; Society</a:t>
            </a:r>
            <a:endParaRPr lang="en-US" sz="1100" i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1F6561-6557-8ED9-8530-1F404D7D6B2A}"/>
              </a:ext>
            </a:extLst>
          </p:cNvPr>
          <p:cNvSpPr txBox="1"/>
          <p:nvPr/>
        </p:nvSpPr>
        <p:spPr>
          <a:xfrm>
            <a:off x="4286103" y="3696127"/>
            <a:ext cx="744874" cy="2215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>
                <a:solidFill>
                  <a:srgbClr val="D4D4D4"/>
                </a:solidFill>
              </a:rPr>
              <a:t>Domai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BE1BEF0-A82A-FE80-A150-6D102012960B}"/>
              </a:ext>
            </a:extLst>
          </p:cNvPr>
          <p:cNvSpPr txBox="1"/>
          <p:nvPr/>
        </p:nvSpPr>
        <p:spPr>
          <a:xfrm>
            <a:off x="610082" y="5555482"/>
            <a:ext cx="420624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4400" b="1">
                <a:solidFill>
                  <a:srgbClr val="D4D4D4"/>
                </a:solidFill>
              </a:rPr>
              <a:t>3</a:t>
            </a:r>
          </a:p>
        </p:txBody>
      </p:sp>
      <p:sp>
        <p:nvSpPr>
          <p:cNvPr id="26" name="Plus Sign 25">
            <a:extLst>
              <a:ext uri="{FF2B5EF4-FFF2-40B4-BE49-F238E27FC236}">
                <a16:creationId xmlns:a16="http://schemas.microsoft.com/office/drawing/2014/main" id="{A1942A1F-4BD7-EEFD-FF9B-433C2DF5ACE2}"/>
              </a:ext>
            </a:extLst>
          </p:cNvPr>
          <p:cNvSpPr/>
          <p:nvPr/>
        </p:nvSpPr>
        <p:spPr>
          <a:xfrm>
            <a:off x="3075542" y="4626005"/>
            <a:ext cx="256065" cy="232703"/>
          </a:xfrm>
          <a:prstGeom prst="mathPlus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100" err="1">
              <a:solidFill>
                <a:schemeClr val="tx1"/>
              </a:solidFill>
            </a:endParaRPr>
          </a:p>
        </p:txBody>
      </p:sp>
      <p:pic>
        <p:nvPicPr>
          <p:cNvPr id="47" name="Picture 20" descr="Website builder Special Lineal icon">
            <a:extLst>
              <a:ext uri="{FF2B5EF4-FFF2-40B4-BE49-F238E27FC236}">
                <a16:creationId xmlns:a16="http://schemas.microsoft.com/office/drawing/2014/main" id="{DD74892E-213C-0994-7F28-0938BE0469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5215" y="3469030"/>
            <a:ext cx="402021" cy="40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4" descr="Machine Generic outline icon">
            <a:extLst>
              <a:ext uri="{FF2B5EF4-FFF2-40B4-BE49-F238E27FC236}">
                <a16:creationId xmlns:a16="http://schemas.microsoft.com/office/drawing/2014/main" id="{28BF36B6-FB86-619C-5C2E-9324F4AFD6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5215" y="5042100"/>
            <a:ext cx="402021" cy="40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8" descr="Diplomat Generic black outline icon">
            <a:extLst>
              <a:ext uri="{FF2B5EF4-FFF2-40B4-BE49-F238E27FC236}">
                <a16:creationId xmlns:a16="http://schemas.microsoft.com/office/drawing/2014/main" id="{D5EDA44D-CE86-7F6B-AD00-3D4B3F08CA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5215" y="4255565"/>
            <a:ext cx="402021" cy="40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A782226-FFF9-3CF3-3A0C-CF12A834FE1C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General Education Program Overview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C0901148-D7E5-7212-6B52-8820E3FFE96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25346" y="5828636"/>
            <a:ext cx="321759" cy="322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2742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55797D6A-CC87-6EF7-E2C3-A58A8ABD99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55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797D6A-CC87-6EF7-E2C3-A58A8ABD9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2A065B0D-5464-0E0B-7B14-CA7E795F7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2286000" cy="1900209"/>
          </a:xfrm>
        </p:spPr>
        <p:txBody>
          <a:bodyPr vert="horz"/>
          <a:lstStyle/>
          <a:p>
            <a:r>
              <a:rPr lang="en-US" sz="2000">
                <a:solidFill>
                  <a:srgbClr val="000000"/>
                </a:solidFill>
                <a:latin typeface="Arial" panose="020B0604020202020204" pitchFamily="34" charset="0"/>
              </a:rPr>
              <a:t>GenEd at ZMU 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</a:rPr>
              <a:t>has been adapted to ZMU priorities </a:t>
            </a:r>
            <a:r>
              <a:rPr lang="en-US" sz="2000">
                <a:solidFill>
                  <a:srgbClr val="000000"/>
                </a:solidFill>
                <a:latin typeface="Arial" panose="020B0604020202020204" pitchFamily="34" charset="0"/>
              </a:rPr>
              <a:t>to achieve the ambitions of a bespoke ZMU GenEd program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BB83FA99-B146-F967-282F-C1CC532D1F52}"/>
              </a:ext>
            </a:extLst>
          </p:cNvPr>
          <p:cNvSpPr txBox="1">
            <a:spLocks/>
          </p:cNvSpPr>
          <p:nvPr/>
        </p:nvSpPr>
        <p:spPr>
          <a:xfrm>
            <a:off x="381000" y="4550664"/>
            <a:ext cx="2285999" cy="91234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lIns="0" tIns="0" rIns="0" bIns="0" anchor="b">
            <a:noAutofit/>
          </a:bodyPr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18" rtl="0" eaLnBrk="1" fontAlgn="auto" latinLnBrk="0" hangingPunct="1">
              <a:spcBef>
                <a:spcPts val="4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ource: ZMU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693ADF-97FC-6147-D23A-EBCE06D083E6}"/>
              </a:ext>
            </a:extLst>
          </p:cNvPr>
          <p:cNvSpPr/>
          <p:nvPr/>
        </p:nvSpPr>
        <p:spPr>
          <a:xfrm>
            <a:off x="3051650" y="353548"/>
            <a:ext cx="9140349" cy="1711214"/>
          </a:xfrm>
          <a:prstGeom prst="rect">
            <a:avLst/>
          </a:prstGeom>
          <a:solidFill>
            <a:srgbClr val="E6E7F2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72009" rIns="182880" bIns="72009" rtlCol="0" anchor="ctr"/>
          <a:lstStyle/>
          <a:p>
            <a:pPr algn="ctr">
              <a:spcBef>
                <a:spcPts val="600"/>
              </a:spcBef>
            </a:pPr>
            <a:r>
              <a:rPr lang="en-US" sz="1600" b="1" u="sng">
                <a:solidFill>
                  <a:schemeClr val="tx1"/>
                </a:solidFill>
              </a:rPr>
              <a:t>ZMU GenEd</a:t>
            </a:r>
          </a:p>
          <a:p>
            <a:pPr algn="ctr">
              <a:spcBef>
                <a:spcPts val="1200"/>
              </a:spcBef>
            </a:pPr>
            <a:r>
              <a:rPr lang="en-US" sz="1400" b="1">
                <a:solidFill>
                  <a:schemeClr val="tx1"/>
                </a:solidFill>
              </a:rPr>
              <a:t>Foundational courses </a:t>
            </a:r>
            <a:r>
              <a:rPr lang="en-US" sz="1400">
                <a:solidFill>
                  <a:schemeClr val="tx1"/>
                </a:solidFill>
              </a:rPr>
              <a:t>delivered to </a:t>
            </a:r>
            <a:r>
              <a:rPr lang="en-US" sz="1400" b="1" u="sng">
                <a:solidFill>
                  <a:schemeClr val="tx1"/>
                </a:solidFill>
              </a:rPr>
              <a:t>all cadets</a:t>
            </a:r>
            <a:r>
              <a:rPr lang="en-US" sz="1400" b="1">
                <a:solidFill>
                  <a:schemeClr val="tx1"/>
                </a:solidFill>
              </a:rPr>
              <a:t> </a:t>
            </a:r>
            <a:r>
              <a:rPr lang="en-US" sz="1400">
                <a:solidFill>
                  <a:schemeClr val="tx1"/>
                </a:solidFill>
              </a:rPr>
              <a:t>as part of the ZMU Academic Program - regardless of AP affiliation - based on a </a:t>
            </a:r>
            <a:r>
              <a:rPr lang="en-US" sz="1400" b="1">
                <a:solidFill>
                  <a:schemeClr val="tx1"/>
                </a:solidFill>
              </a:rPr>
              <a:t>ZMU-tailored curriculum </a:t>
            </a:r>
            <a:r>
              <a:rPr lang="en-US" sz="1400">
                <a:solidFill>
                  <a:schemeClr val="tx1"/>
                </a:solidFill>
              </a:rPr>
              <a:t>with defined learning outcomes aligned to a </a:t>
            </a:r>
            <a:r>
              <a:rPr lang="en-US" sz="1400" b="1">
                <a:solidFill>
                  <a:schemeClr val="tx1"/>
                </a:solidFill>
              </a:rPr>
              <a:t>military and defence con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846F3F-B602-A8C7-1113-438C7F47DA26}"/>
              </a:ext>
            </a:extLst>
          </p:cNvPr>
          <p:cNvSpPr/>
          <p:nvPr/>
        </p:nvSpPr>
        <p:spPr>
          <a:xfrm>
            <a:off x="3810157" y="2755348"/>
            <a:ext cx="1116517" cy="18466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588" algn="ctr">
              <a:spcBef>
                <a:spcPts val="900"/>
              </a:spcBef>
            </a:pPr>
            <a:r>
              <a:rPr lang="en-US" sz="1200" b="1">
                <a:cs typeface="Arial" pitchFamily="34" charset="0"/>
              </a:rPr>
              <a:t>Jointery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E896204-E238-DA52-94B0-FE98B572DCA4}"/>
              </a:ext>
            </a:extLst>
          </p:cNvPr>
          <p:cNvSpPr/>
          <p:nvPr/>
        </p:nvSpPr>
        <p:spPr>
          <a:xfrm>
            <a:off x="4030001" y="3219502"/>
            <a:ext cx="675007" cy="681647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3152" rIns="0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CD98F07-06AB-D3F4-CBC8-ECC04F332F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151426" y="3352955"/>
            <a:ext cx="415948" cy="415948"/>
          </a:xfrm>
          <a:prstGeom prst="rect">
            <a:avLst/>
          </a:prstGeom>
        </p:spPr>
      </p:pic>
      <p:sp>
        <p:nvSpPr>
          <p:cNvPr id="22" name="Plus Sign 21">
            <a:extLst>
              <a:ext uri="{FF2B5EF4-FFF2-40B4-BE49-F238E27FC236}">
                <a16:creationId xmlns:a16="http://schemas.microsoft.com/office/drawing/2014/main" id="{80BFBEB0-953C-FEE3-780D-978AB69B20A2}"/>
              </a:ext>
            </a:extLst>
          </p:cNvPr>
          <p:cNvSpPr/>
          <p:nvPr/>
        </p:nvSpPr>
        <p:spPr>
          <a:xfrm>
            <a:off x="5154166" y="3313374"/>
            <a:ext cx="508961" cy="508961"/>
          </a:xfrm>
          <a:prstGeom prst="mathPlus">
            <a:avLst>
              <a:gd name="adj1" fmla="val 1035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9958E1E-1702-3AEE-DBF0-BC8F9A8AF919}"/>
              </a:ext>
            </a:extLst>
          </p:cNvPr>
          <p:cNvSpPr/>
          <p:nvPr/>
        </p:nvSpPr>
        <p:spPr>
          <a:xfrm>
            <a:off x="8194556" y="3219503"/>
            <a:ext cx="675007" cy="681646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3152" rIns="0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27" name="Picture 26" descr="A close up of a logo&#10;&#10;Description automatically generated">
            <a:extLst>
              <a:ext uri="{FF2B5EF4-FFF2-40B4-BE49-F238E27FC236}">
                <a16:creationId xmlns:a16="http://schemas.microsoft.com/office/drawing/2014/main" id="{94BC0457-6440-B146-7018-43BDF64BC7E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97"/>
          <a:stretch/>
        </p:blipFill>
        <p:spPr>
          <a:xfrm>
            <a:off x="8241214" y="3310639"/>
            <a:ext cx="581698" cy="486903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3944F96E-7EB9-6C4C-01C7-08EC96D944CD}"/>
              </a:ext>
            </a:extLst>
          </p:cNvPr>
          <p:cNvSpPr/>
          <p:nvPr/>
        </p:nvSpPr>
        <p:spPr>
          <a:xfrm>
            <a:off x="7490124" y="2755348"/>
            <a:ext cx="2083872" cy="36933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588" algn="ctr"/>
            <a:r>
              <a:rPr lang="en-US" sz="1200" b="1">
                <a:cs typeface="Arial" pitchFamily="34" charset="0"/>
              </a:rPr>
              <a:t>Common </a:t>
            </a:r>
          </a:p>
          <a:p>
            <a:pPr marL="1588" algn="ctr"/>
            <a:r>
              <a:rPr lang="en-US" sz="1200" b="1">
                <a:cs typeface="Arial" pitchFamily="34" charset="0"/>
              </a:rPr>
              <a:t>Core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A0448A2-68C3-07DA-C1C1-0C6C92AE7E86}"/>
              </a:ext>
            </a:extLst>
          </p:cNvPr>
          <p:cNvSpPr/>
          <p:nvPr/>
        </p:nvSpPr>
        <p:spPr>
          <a:xfrm>
            <a:off x="6112280" y="3213659"/>
            <a:ext cx="675007" cy="681646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3152" rIns="0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37A7818-9A05-8727-B60F-AB1454E17CCA}"/>
              </a:ext>
            </a:extLst>
          </p:cNvPr>
          <p:cNvSpPr/>
          <p:nvPr/>
        </p:nvSpPr>
        <p:spPr>
          <a:xfrm>
            <a:off x="4872656" y="2755348"/>
            <a:ext cx="3136514" cy="36933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588" algn="ctr"/>
            <a:r>
              <a:rPr lang="en-US" sz="1200" b="1">
                <a:cs typeface="Arial" pitchFamily="34" charset="0"/>
              </a:rPr>
              <a:t>Academic</a:t>
            </a:r>
          </a:p>
          <a:p>
            <a:pPr marL="1588" algn="ctr"/>
            <a:r>
              <a:rPr lang="en-US" sz="1200" b="1">
                <a:cs typeface="Arial" pitchFamily="34" charset="0"/>
              </a:rPr>
              <a:t>Proficiency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BD42DEBB-2001-081C-E59F-894A3763F3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07058" y="3312697"/>
            <a:ext cx="486903" cy="486903"/>
          </a:xfrm>
          <a:prstGeom prst="rect">
            <a:avLst/>
          </a:prstGeom>
        </p:spPr>
      </p:pic>
      <p:sp>
        <p:nvSpPr>
          <p:cNvPr id="33" name="Plus Sign 32">
            <a:extLst>
              <a:ext uri="{FF2B5EF4-FFF2-40B4-BE49-F238E27FC236}">
                <a16:creationId xmlns:a16="http://schemas.microsoft.com/office/drawing/2014/main" id="{4A73F6E0-345D-41B9-7AFD-1B48E84E679E}"/>
              </a:ext>
            </a:extLst>
          </p:cNvPr>
          <p:cNvSpPr/>
          <p:nvPr/>
        </p:nvSpPr>
        <p:spPr>
          <a:xfrm>
            <a:off x="7242490" y="3313374"/>
            <a:ext cx="508961" cy="508961"/>
          </a:xfrm>
          <a:prstGeom prst="mathPlus">
            <a:avLst>
              <a:gd name="adj1" fmla="val 1035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09D2A7C-8F33-8041-B058-2A05247AD4C4}"/>
              </a:ext>
            </a:extLst>
          </p:cNvPr>
          <p:cNvSpPr/>
          <p:nvPr/>
        </p:nvSpPr>
        <p:spPr>
          <a:xfrm>
            <a:off x="9349620" y="2755348"/>
            <a:ext cx="2083872" cy="36933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588" algn="ctr"/>
            <a:r>
              <a:rPr lang="en-US" sz="1200" b="1">
                <a:cs typeface="Arial" pitchFamily="34" charset="0"/>
              </a:rPr>
              <a:t>Pure </a:t>
            </a:r>
          </a:p>
          <a:p>
            <a:pPr marL="1588" algn="ctr"/>
            <a:r>
              <a:rPr lang="en-US" sz="1200" b="1">
                <a:cs typeface="Arial" pitchFamily="34" charset="0"/>
              </a:rPr>
              <a:t>Academic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B6F26D5D-6A38-1B7F-6D0D-E91E3F8E6BC3}"/>
              </a:ext>
            </a:extLst>
          </p:cNvPr>
          <p:cNvSpPr/>
          <p:nvPr/>
        </p:nvSpPr>
        <p:spPr>
          <a:xfrm>
            <a:off x="10002279" y="3219503"/>
            <a:ext cx="675007" cy="681646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3152" rIns="0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54" name="Picture 53" descr="A close up of a logo&#10;&#10;Description automatically generated">
            <a:extLst>
              <a:ext uri="{FF2B5EF4-FFF2-40B4-BE49-F238E27FC236}">
                <a16:creationId xmlns:a16="http://schemas.microsoft.com/office/drawing/2014/main" id="{2196509B-50EB-A4F1-AAFC-666F33EF957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96"/>
          <a:stretch/>
        </p:blipFill>
        <p:spPr>
          <a:xfrm>
            <a:off x="10045774" y="3318541"/>
            <a:ext cx="564824" cy="486903"/>
          </a:xfrm>
          <a:prstGeom prst="rect">
            <a:avLst/>
          </a:prstGeom>
        </p:spPr>
      </p:pic>
      <p:sp>
        <p:nvSpPr>
          <p:cNvPr id="56" name="Plus Sign 55">
            <a:extLst>
              <a:ext uri="{FF2B5EF4-FFF2-40B4-BE49-F238E27FC236}">
                <a16:creationId xmlns:a16="http://schemas.microsoft.com/office/drawing/2014/main" id="{439BD008-7FFE-9251-D48B-26FF39BBFA10}"/>
              </a:ext>
            </a:extLst>
          </p:cNvPr>
          <p:cNvSpPr/>
          <p:nvPr/>
        </p:nvSpPr>
        <p:spPr>
          <a:xfrm>
            <a:off x="9309549" y="3313374"/>
            <a:ext cx="508961" cy="508961"/>
          </a:xfrm>
          <a:prstGeom prst="mathPlus">
            <a:avLst>
              <a:gd name="adj1" fmla="val 1035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641CB01-CBB9-40AB-D359-3A40C70E8E3B}"/>
              </a:ext>
            </a:extLst>
          </p:cNvPr>
          <p:cNvSpPr/>
          <p:nvPr/>
        </p:nvSpPr>
        <p:spPr>
          <a:xfrm>
            <a:off x="3051650" y="0"/>
            <a:ext cx="9140349" cy="3583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b="1">
                <a:solidFill>
                  <a:schemeClr val="bg1"/>
                </a:solidFill>
              </a:rPr>
              <a:t>ZMU General Education (</a:t>
            </a:r>
            <a:r>
              <a:rPr lang="en-US" b="1" err="1">
                <a:solidFill>
                  <a:schemeClr val="bg1"/>
                </a:solidFill>
              </a:rPr>
              <a:t>GenEd</a:t>
            </a:r>
            <a:r>
              <a:rPr lang="en-US" b="1">
                <a:solidFill>
                  <a:schemeClr val="bg1"/>
                </a:solidFill>
              </a:rPr>
              <a:t>) Concept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638D55D-DC7C-5EED-62BA-11B0D8145F3F}"/>
              </a:ext>
            </a:extLst>
          </p:cNvPr>
          <p:cNvSpPr txBox="1"/>
          <p:nvPr/>
        </p:nvSpPr>
        <p:spPr>
          <a:xfrm>
            <a:off x="3275081" y="4746851"/>
            <a:ext cx="8535920" cy="8002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1E1E1E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urpose-built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GenEd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curriculum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eets the unique context of ZMU</a:t>
            </a:r>
          </a:p>
          <a:p>
            <a:pPr marL="285750" indent="-285750">
              <a:spcAft>
                <a:spcPts val="600"/>
              </a:spcAft>
              <a:buClr>
                <a:srgbClr val="1E1E1E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entralize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artnership between ZMU and AP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on course content</a:t>
            </a:r>
          </a:p>
          <a:p>
            <a:pPr marL="285750" indent="-285750">
              <a:spcAft>
                <a:spcPts val="600"/>
              </a:spcAft>
              <a:buClr>
                <a:srgbClr val="1E1E1E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ZMU has more agency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n defining the courses and expected course outcome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D955BD7-E31E-65A9-5365-ABAB16C3F5E6}"/>
              </a:ext>
            </a:extLst>
          </p:cNvPr>
          <p:cNvSpPr/>
          <p:nvPr/>
        </p:nvSpPr>
        <p:spPr>
          <a:xfrm>
            <a:off x="4402082" y="2268048"/>
            <a:ext cx="6439486" cy="296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600" b="1">
                <a:solidFill>
                  <a:schemeClr val="tx1"/>
                </a:solidFill>
              </a:rPr>
              <a:t>ZMU </a:t>
            </a:r>
            <a:r>
              <a:rPr lang="en-US" sz="1600" b="1" err="1">
                <a:solidFill>
                  <a:schemeClr val="tx1"/>
                </a:solidFill>
              </a:rPr>
              <a:t>GenEd</a:t>
            </a:r>
            <a:r>
              <a:rPr lang="en-US" sz="1600" b="1">
                <a:solidFill>
                  <a:schemeClr val="tx1"/>
                </a:solidFill>
              </a:rPr>
              <a:t> is in line with ZMU Core Guiding Principle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95C1C74-CEF5-8EA4-9E37-3229BF6BA510}"/>
              </a:ext>
            </a:extLst>
          </p:cNvPr>
          <p:cNvSpPr/>
          <p:nvPr/>
        </p:nvSpPr>
        <p:spPr>
          <a:xfrm>
            <a:off x="5835239" y="4352499"/>
            <a:ext cx="3573171" cy="296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600" b="1">
                <a:solidFill>
                  <a:schemeClr val="tx1"/>
                </a:solidFill>
              </a:rPr>
              <a:t>ZMU </a:t>
            </a:r>
            <a:r>
              <a:rPr lang="en-US" sz="1600" b="1" err="1">
                <a:solidFill>
                  <a:schemeClr val="tx1"/>
                </a:solidFill>
              </a:rPr>
              <a:t>GenEd</a:t>
            </a:r>
            <a:r>
              <a:rPr lang="en-US" sz="1600" b="1">
                <a:solidFill>
                  <a:schemeClr val="tx1"/>
                </a:solidFill>
              </a:rPr>
              <a:t> Concept Benefi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D15AE57-7F58-D49A-2769-BB82BF7ACE41}"/>
              </a:ext>
            </a:extLst>
          </p:cNvPr>
          <p:cNvSpPr/>
          <p:nvPr/>
        </p:nvSpPr>
        <p:spPr>
          <a:xfrm>
            <a:off x="381000" y="4435551"/>
            <a:ext cx="2286000" cy="762000"/>
          </a:xfrm>
          <a:prstGeom prst="rect">
            <a:avLst/>
          </a:prstGeom>
          <a:solidFill>
            <a:schemeClr val="bg1">
              <a:alpha val="99000"/>
            </a:schemeClr>
          </a:solidFill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orsed by ZMU Commandan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Jun 2024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655882-B7D5-73BC-76B5-125E54DD1254}"/>
              </a:ext>
            </a:extLst>
          </p:cNvPr>
          <p:cNvSpPr/>
          <p:nvPr/>
        </p:nvSpPr>
        <p:spPr>
          <a:xfrm>
            <a:off x="3051650" y="6393325"/>
            <a:ext cx="9140350" cy="46467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400">
                <a:solidFill>
                  <a:schemeClr val="tx1"/>
                </a:solidFill>
              </a:rPr>
              <a:t>ZMU </a:t>
            </a:r>
            <a:r>
              <a:rPr lang="en-US" sz="1400" b="1">
                <a:solidFill>
                  <a:schemeClr val="tx1"/>
                </a:solidFill>
              </a:rPr>
              <a:t>GenEd concept </a:t>
            </a:r>
            <a:r>
              <a:rPr lang="en-US" sz="1400">
                <a:solidFill>
                  <a:schemeClr val="tx1"/>
                </a:solidFill>
              </a:rPr>
              <a:t>has been aligned with the </a:t>
            </a:r>
            <a:r>
              <a:rPr lang="en-US" sz="1400" b="1">
                <a:solidFill>
                  <a:schemeClr val="tx1"/>
                </a:solidFill>
              </a:rPr>
              <a:t>Academic Partners </a:t>
            </a:r>
            <a:r>
              <a:rPr lang="en-US" sz="1400">
                <a:solidFill>
                  <a:schemeClr val="tx1"/>
                </a:solidFill>
              </a:rPr>
              <a:t>in May 2025 through </a:t>
            </a:r>
            <a:r>
              <a:rPr lang="en-US" sz="1400" b="1">
                <a:solidFill>
                  <a:schemeClr val="tx1"/>
                </a:solidFill>
              </a:rPr>
              <a:t>ZMU GenEd Working Group </a:t>
            </a:r>
            <a:r>
              <a:rPr lang="en-US" sz="1400" i="1">
                <a:solidFill>
                  <a:schemeClr val="tx1"/>
                </a:solidFill>
              </a:rPr>
              <a:t>(detailed in appendix)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F0031B3E-23E8-CB13-F0F0-3BC75C4E8E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1000" y="3810000"/>
            <a:ext cx="2286000" cy="740664"/>
          </a:xfrm>
        </p:spPr>
        <p:txBody>
          <a:bodyPr/>
          <a:lstStyle/>
          <a:p>
            <a:r>
              <a:rPr lang="en-US"/>
              <a:t>ZMU General Education Charter</a:t>
            </a:r>
          </a:p>
        </p:txBody>
      </p:sp>
    </p:spTree>
    <p:extLst>
      <p:ext uri="{BB962C8B-B14F-4D97-AF65-F5344CB8AC3E}">
        <p14:creationId xmlns:p14="http://schemas.microsoft.com/office/powerpoint/2010/main" val="5841447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52CF3C-FCD3-2DC9-BFE2-478F087192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Agenda</a:t>
            </a:r>
          </a:p>
          <a:p>
            <a:r>
              <a:rPr lang="en-US">
                <a:solidFill>
                  <a:schemeClr val="tx1">
                    <a:lumMod val="10000"/>
                    <a:lumOff val="90000"/>
                  </a:schemeClr>
                </a:solidFill>
              </a:rPr>
              <a:t>GenEd Overview</a:t>
            </a:r>
          </a:p>
          <a:p>
            <a:r>
              <a:rPr lang="en-US"/>
              <a:t>IOC GenEd Concept</a:t>
            </a:r>
          </a:p>
          <a:p>
            <a:r>
              <a:rPr lang="en-US">
                <a:solidFill>
                  <a:srgbClr val="E8E8E8"/>
                </a:solidFill>
              </a:rPr>
              <a:t>IOC GenEd Curriculum</a:t>
            </a:r>
          </a:p>
          <a:p>
            <a:r>
              <a:rPr lang="en-US">
                <a:solidFill>
                  <a:srgbClr val="E8E8E8"/>
                </a:solidFill>
              </a:rPr>
              <a:t>IOC GenEd Refinements</a:t>
            </a:r>
          </a:p>
        </p:txBody>
      </p:sp>
    </p:spTree>
    <p:extLst>
      <p:ext uri="{BB962C8B-B14F-4D97-AF65-F5344CB8AC3E}">
        <p14:creationId xmlns:p14="http://schemas.microsoft.com/office/powerpoint/2010/main" val="26379870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F08E0BC-303A-4D7A-15F9-42429F0FE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8852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08E0BC-303A-4D7A-15F9-42429F0FE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phic 26">
            <a:extLst>
              <a:ext uri="{FF2B5EF4-FFF2-40B4-BE49-F238E27FC236}">
                <a16:creationId xmlns:a16="http://schemas.microsoft.com/office/drawing/2014/main" id="{E85204F4-71C9-40C7-F13B-E85241AC90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33950" y="5301373"/>
            <a:ext cx="362107" cy="49117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59514F7-FD6C-4E21-2CF6-201FDA2F194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7126" b="34883"/>
          <a:stretch/>
        </p:blipFill>
        <p:spPr>
          <a:xfrm>
            <a:off x="3159575" y="5167413"/>
            <a:ext cx="8133265" cy="712178"/>
          </a:xfrm>
          <a:prstGeom prst="rect">
            <a:avLst/>
          </a:prstGeom>
        </p:spPr>
      </p:pic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A2B6AA97-4E4D-5487-4940-37E122A07655}"/>
              </a:ext>
            </a:extLst>
          </p:cNvPr>
          <p:cNvSpPr/>
          <p:nvPr/>
        </p:nvSpPr>
        <p:spPr>
          <a:xfrm>
            <a:off x="3159575" y="5167413"/>
            <a:ext cx="5344893" cy="712178"/>
          </a:xfrm>
          <a:prstGeom prst="homePlate">
            <a:avLst/>
          </a:prstGeom>
          <a:solidFill>
            <a:schemeClr val="tx2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13A7613-0BBB-714E-5991-0EBA5195A0BF}"/>
              </a:ext>
            </a:extLst>
          </p:cNvPr>
          <p:cNvSpPr/>
          <p:nvPr/>
        </p:nvSpPr>
        <p:spPr>
          <a:xfrm>
            <a:off x="3172791" y="5167413"/>
            <a:ext cx="890352" cy="7121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2009" rIns="0" bIns="72009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ncept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evelopmen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D99E906-CEE1-248E-95D0-62E5BB261414}"/>
              </a:ext>
            </a:extLst>
          </p:cNvPr>
          <p:cNvSpPr/>
          <p:nvPr/>
        </p:nvSpPr>
        <p:spPr>
          <a:xfrm>
            <a:off x="6799177" y="5167413"/>
            <a:ext cx="890352" cy="7121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2009" rIns="0" bIns="72009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evelopment </a:t>
            </a:r>
            <a:b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of Academic Program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C68ADAF-68CE-F9AE-656A-D5D2F0520909}"/>
              </a:ext>
            </a:extLst>
          </p:cNvPr>
          <p:cNvSpPr/>
          <p:nvPr/>
        </p:nvSpPr>
        <p:spPr>
          <a:xfrm>
            <a:off x="4892497" y="5167413"/>
            <a:ext cx="1077326" cy="7121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2009" rIns="0" bIns="72009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takeholder </a:t>
            </a:r>
            <a:b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Needs Identified </a:t>
            </a:r>
            <a:b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nd Aligned</a:t>
            </a:r>
          </a:p>
        </p:txBody>
      </p:sp>
      <p:sp>
        <p:nvSpPr>
          <p:cNvPr id="37" name="Arrow: Chevron 36">
            <a:extLst>
              <a:ext uri="{FF2B5EF4-FFF2-40B4-BE49-F238E27FC236}">
                <a16:creationId xmlns:a16="http://schemas.microsoft.com/office/drawing/2014/main" id="{E7FA680E-E8F8-6936-4641-A2E6E39A45B0}"/>
              </a:ext>
            </a:extLst>
          </p:cNvPr>
          <p:cNvSpPr/>
          <p:nvPr/>
        </p:nvSpPr>
        <p:spPr>
          <a:xfrm>
            <a:off x="6224056" y="5167413"/>
            <a:ext cx="227401" cy="712178"/>
          </a:xfrm>
          <a:prstGeom prst="chevron">
            <a:avLst>
              <a:gd name="adj" fmla="val 568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72009" rIns="0" bIns="72009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B6316ECC-8376-D5DF-FCFA-3E2D1525A520}"/>
              </a:ext>
            </a:extLst>
          </p:cNvPr>
          <p:cNvSpPr/>
          <p:nvPr/>
        </p:nvSpPr>
        <p:spPr>
          <a:xfrm>
            <a:off x="4410863" y="5167413"/>
            <a:ext cx="227401" cy="712178"/>
          </a:xfrm>
          <a:prstGeom prst="chevron">
            <a:avLst>
              <a:gd name="adj" fmla="val 568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72009" rIns="0" bIns="72009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Arrow: Pentagon 52">
            <a:extLst>
              <a:ext uri="{FF2B5EF4-FFF2-40B4-BE49-F238E27FC236}">
                <a16:creationId xmlns:a16="http://schemas.microsoft.com/office/drawing/2014/main" id="{F938E142-6282-A92F-F1A7-0955A068FCE5}"/>
              </a:ext>
            </a:extLst>
          </p:cNvPr>
          <p:cNvSpPr/>
          <p:nvPr/>
        </p:nvSpPr>
        <p:spPr>
          <a:xfrm>
            <a:off x="3159575" y="5991800"/>
            <a:ext cx="8664125" cy="263876"/>
          </a:xfrm>
          <a:prstGeom prst="homePlate">
            <a:avLst>
              <a:gd name="adj" fmla="val 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F2837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300" normalizeH="0" baseline="0" noProof="0">
                <a:ln>
                  <a:noFill/>
                </a:ln>
                <a:solidFill>
                  <a:srgbClr val="0F283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NTINUOUS STAKEHOLDER ENGAGEMENT AND ALIGNMEN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883BCFF-F476-FD98-F7EE-BECA16BEE163}"/>
              </a:ext>
            </a:extLst>
          </p:cNvPr>
          <p:cNvSpPr/>
          <p:nvPr/>
        </p:nvSpPr>
        <p:spPr>
          <a:xfrm>
            <a:off x="3159575" y="1631249"/>
            <a:ext cx="8642715" cy="1088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152400" indent="-152400" defTabSz="685818"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xisting GenEd course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apted to ZMU IOC GenEd</a:t>
            </a:r>
            <a:r>
              <a:rPr lang="en-US" sz="1200">
                <a:solidFill>
                  <a:srgbClr val="1E1E1E"/>
                </a:solidFill>
              </a:rPr>
              <a:t> through minimal rework, eliminating the need for CAA re-accreditation</a:t>
            </a:r>
          </a:p>
          <a:p>
            <a:pPr marL="152400" indent="-152400" defTabSz="685818"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 b="1">
                <a:solidFill>
                  <a:srgbClr val="1E1E1E"/>
                </a:solidFill>
              </a:rPr>
              <a:t>Additional courses </a:t>
            </a:r>
            <a:r>
              <a:rPr lang="en-US" sz="1200">
                <a:solidFill>
                  <a:srgbClr val="1E1E1E"/>
                </a:solidFill>
              </a:rPr>
              <a:t>developed as ZMU IOC Gen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FB37C1-2FFB-64C3-A73B-3993558F9D50}"/>
              </a:ext>
            </a:extLst>
          </p:cNvPr>
          <p:cNvSpPr/>
          <p:nvPr/>
        </p:nvSpPr>
        <p:spPr>
          <a:xfrm>
            <a:off x="389709" y="1631249"/>
            <a:ext cx="2709563" cy="10882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rtl="0" eaLnBrk="1" fontAlgn="auto" latinLnBrk="0" hangingPunct="1"/>
            <a:r>
              <a:rPr lang="en-US" sz="1400" b="1" i="0" kern="1200" baseline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DEVELOPMENT </a:t>
            </a:r>
            <a:br>
              <a:rPr lang="en-US" sz="1400" b="1" i="0" kern="1200" baseline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400" b="1" i="0" kern="1200" baseline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STRATEGY</a:t>
            </a:r>
            <a:endParaRPr lang="en-US" sz="1400">
              <a:effectLst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8DDAE0A-1F33-CF72-4C6D-18EA4368CFA9}"/>
              </a:ext>
            </a:extLst>
          </p:cNvPr>
          <p:cNvSpPr/>
          <p:nvPr/>
        </p:nvSpPr>
        <p:spPr>
          <a:xfrm>
            <a:off x="389709" y="1185231"/>
            <a:ext cx="11412581" cy="3822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b="1">
                <a:solidFill>
                  <a:schemeClr val="bg1"/>
                </a:solidFill>
              </a:rPr>
              <a:t>ZMU IOC GenEd Concep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E4AF2A0-F1F4-7A1E-E0F6-04243485A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710" y="389713"/>
            <a:ext cx="9041370" cy="55399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lIns="0" tIns="0" rIns="0" bIns="0" anchor="t">
            <a:noAutofit/>
          </a:bodyPr>
          <a:lstStyle/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Development of ZMU IOC GenEd concept includes the list of courses with contextually relevant curricula and a process to develop courses</a:t>
            </a:r>
            <a:endParaRPr lang="en-US">
              <a:solidFill>
                <a:srgbClr val="000000">
                  <a:lumMod val="100000"/>
                </a:srgbClr>
              </a:solidFill>
              <a:highlight>
                <a:srgbClr val="FFFF00"/>
              </a:highlight>
              <a:latin typeface="Arial" panose="020B0604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C0C301B-0B6F-FF06-5038-709E99F99365}"/>
              </a:ext>
            </a:extLst>
          </p:cNvPr>
          <p:cNvSpPr/>
          <p:nvPr/>
        </p:nvSpPr>
        <p:spPr>
          <a:xfrm>
            <a:off x="9525614" y="995462"/>
            <a:ext cx="2286000" cy="152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n-Exhaustiv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45A0DC4-F5D6-2DE3-A834-C2887D3C293E}"/>
              </a:ext>
            </a:extLst>
          </p:cNvPr>
          <p:cNvSpPr txBox="1">
            <a:spLocks/>
          </p:cNvSpPr>
          <p:nvPr/>
        </p:nvSpPr>
        <p:spPr>
          <a:xfrm>
            <a:off x="389709" y="5810976"/>
            <a:ext cx="2277291" cy="91234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401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00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7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5011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14" indent="-135004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System Font Regular"/>
              <a:buChar char="–"/>
              <a:tabLst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18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None/>
              <a:tabLst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18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ZMU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3A4FE46-3754-4F66-57B9-1A961720B58A}"/>
              </a:ext>
            </a:extLst>
          </p:cNvPr>
          <p:cNvSpPr/>
          <p:nvPr/>
        </p:nvSpPr>
        <p:spPr>
          <a:xfrm>
            <a:off x="393700" y="5168901"/>
            <a:ext cx="2709563" cy="10882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lnSpc>
                <a:spcPct val="90000"/>
              </a:lnSpc>
            </a:pPr>
            <a:r>
              <a:rPr lang="en-US" sz="1400" b="1" i="0" kern="1200" baseline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COURSE </a:t>
            </a:r>
            <a:br>
              <a:rPr lang="en-US" sz="1400" b="1" i="0" kern="1200" baseline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400" b="1" i="0" kern="1200" baseline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DEVELOPMENT </a:t>
            </a:r>
            <a:br>
              <a:rPr lang="en-US" sz="1400" b="1" i="0" kern="1200" baseline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400" b="1" i="0" kern="1200" baseline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PROCESS</a:t>
            </a:r>
            <a:endParaRPr lang="en-US" sz="1400">
              <a:effectLst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A1E34C-3DAB-B03C-55A6-2A5CDA430F5A}"/>
              </a:ext>
            </a:extLst>
          </p:cNvPr>
          <p:cNvSpPr/>
          <p:nvPr/>
        </p:nvSpPr>
        <p:spPr>
          <a:xfrm>
            <a:off x="3163566" y="2806700"/>
            <a:ext cx="8642715" cy="1088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139700" marR="0" lvl="0" indent="-139700" algn="l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lang="en-US" sz="1200" b="1">
                <a:solidFill>
                  <a:srgbClr val="1E1E1E"/>
                </a:solidFill>
              </a:rPr>
              <a:t>Unified learning objectives, outcomes and reading lists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nalized for adapted ZMU IOC GenEd courses, integrating military context throughout</a:t>
            </a:r>
          </a:p>
          <a:p>
            <a:pPr marL="139700" marR="0" lvl="0" indent="-139700" algn="l" defTabSz="685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apted ZMU IOC GenEd courses planned to be delivered acros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fferent academic year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thin cadet progra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199FED-4097-1C99-7D76-1A0EA19B22C9}"/>
              </a:ext>
            </a:extLst>
          </p:cNvPr>
          <p:cNvSpPr/>
          <p:nvPr/>
        </p:nvSpPr>
        <p:spPr>
          <a:xfrm>
            <a:off x="393700" y="2806700"/>
            <a:ext cx="2709563" cy="10882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lnSpc>
                <a:spcPct val="90000"/>
              </a:lnSpc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GRAM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URRICULUM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BD2A90D-806A-1B05-E92A-C4E2C695E6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25394" y="3131465"/>
            <a:ext cx="446265" cy="446265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73D90993-E9DE-19DD-E22B-B9EBC87AE115}"/>
              </a:ext>
            </a:extLst>
          </p:cNvPr>
          <p:cNvSpPr/>
          <p:nvPr/>
        </p:nvSpPr>
        <p:spPr>
          <a:xfrm>
            <a:off x="3163566" y="3987800"/>
            <a:ext cx="8642715" cy="1088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152400" indent="-152400">
              <a:lnSpc>
                <a:spcPct val="90000"/>
              </a:lnSpc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MU IOC GenEd courses delivered individually by AP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th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intery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nabled through AP-aligned learning outcom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0842C1F-6D7B-E013-5C37-C258B69D0260}"/>
              </a:ext>
            </a:extLst>
          </p:cNvPr>
          <p:cNvSpPr/>
          <p:nvPr/>
        </p:nvSpPr>
        <p:spPr>
          <a:xfrm>
            <a:off x="393700" y="3987801"/>
            <a:ext cx="2709563" cy="10882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ELIVERY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OD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EE32777-8316-F817-C06D-D360578B0C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25394" y="4310682"/>
            <a:ext cx="446265" cy="44626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8176EE82-8EC5-CF59-8A7F-CD5463440EE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322340" y="1952248"/>
            <a:ext cx="444390" cy="446265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237F7653-B5EE-5F78-1089-8A94CBE3F9DC}"/>
              </a:ext>
            </a:extLst>
          </p:cNvPr>
          <p:cNvSpPr/>
          <p:nvPr/>
        </p:nvSpPr>
        <p:spPr>
          <a:xfrm>
            <a:off x="3159575" y="1631249"/>
            <a:ext cx="8642715" cy="1088263"/>
          </a:xfrm>
          <a:prstGeom prst="rect">
            <a:avLst/>
          </a:prstGeom>
          <a:noFill/>
          <a:ln w="2857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8E865F6-A09A-02A7-5A11-735E5DC467F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24100" y="5489900"/>
            <a:ext cx="446265" cy="446265"/>
          </a:xfrm>
          <a:prstGeom prst="rect">
            <a:avLst/>
          </a:prstGeom>
        </p:spPr>
      </p:pic>
      <p:sp>
        <p:nvSpPr>
          <p:cNvPr id="2" name="Arrow: Pentagon 1">
            <a:extLst>
              <a:ext uri="{FF2B5EF4-FFF2-40B4-BE49-F238E27FC236}">
                <a16:creationId xmlns:a16="http://schemas.microsoft.com/office/drawing/2014/main" id="{BBC33D0A-AED2-B05E-BE7C-A4AB9A6649D5}"/>
              </a:ext>
            </a:extLst>
          </p:cNvPr>
          <p:cNvSpPr/>
          <p:nvPr/>
        </p:nvSpPr>
        <p:spPr>
          <a:xfrm>
            <a:off x="8128859" y="5156911"/>
            <a:ext cx="3511701" cy="722679"/>
          </a:xfrm>
          <a:prstGeom prst="homePlate">
            <a:avLst/>
          </a:prstGeom>
          <a:solidFill>
            <a:schemeClr val="tx2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C4AE7827-6CBB-BC89-087E-A2979512E6D9}"/>
              </a:ext>
            </a:extLst>
          </p:cNvPr>
          <p:cNvSpPr/>
          <p:nvPr/>
        </p:nvSpPr>
        <p:spPr>
          <a:xfrm>
            <a:off x="8037249" y="5167413"/>
            <a:ext cx="227401" cy="712178"/>
          </a:xfrm>
          <a:prstGeom prst="chevron">
            <a:avLst>
              <a:gd name="adj" fmla="val 568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72009" rIns="0" bIns="72009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E0EC4ED-1004-74FB-4E74-15138527FEA9}"/>
              </a:ext>
            </a:extLst>
          </p:cNvPr>
          <p:cNvSpPr/>
          <p:nvPr/>
        </p:nvSpPr>
        <p:spPr>
          <a:xfrm>
            <a:off x="8567852" y="5167413"/>
            <a:ext cx="979387" cy="7121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2009" rIns="0" bIns="72009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urriculum Development and Validatio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C30FCE2-25BF-76E7-EFE1-24E872DB34E1}"/>
              </a:ext>
            </a:extLst>
          </p:cNvPr>
          <p:cNvSpPr/>
          <p:nvPr/>
        </p:nvSpPr>
        <p:spPr>
          <a:xfrm>
            <a:off x="9152439" y="5167413"/>
            <a:ext cx="862019" cy="7121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2009" rIns="0" bIns="72009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2CEFBDC-DD8D-E9B0-46B8-6405108793B5}"/>
              </a:ext>
            </a:extLst>
          </p:cNvPr>
          <p:cNvSpPr/>
          <p:nvPr/>
        </p:nvSpPr>
        <p:spPr>
          <a:xfrm>
            <a:off x="10206838" y="5167413"/>
            <a:ext cx="1077326" cy="7121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2009" rIns="0" bIns="72009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mplementation and Testing</a:t>
            </a:r>
          </a:p>
        </p:txBody>
      </p:sp>
      <p:sp>
        <p:nvSpPr>
          <p:cNvPr id="51" name="Arrow: Chevron 50">
            <a:extLst>
              <a:ext uri="{FF2B5EF4-FFF2-40B4-BE49-F238E27FC236}">
                <a16:creationId xmlns:a16="http://schemas.microsoft.com/office/drawing/2014/main" id="{6ED4B8CA-B641-3233-B2C3-D81E2A0D8B18}"/>
              </a:ext>
            </a:extLst>
          </p:cNvPr>
          <p:cNvSpPr/>
          <p:nvPr/>
        </p:nvSpPr>
        <p:spPr>
          <a:xfrm>
            <a:off x="9850442" y="5167413"/>
            <a:ext cx="227401" cy="712178"/>
          </a:xfrm>
          <a:prstGeom prst="chevron">
            <a:avLst>
              <a:gd name="adj" fmla="val 568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72009" rIns="0" bIns="72009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C813A63-4DC0-21DA-8DAE-0B9042F0916D}"/>
              </a:ext>
            </a:extLst>
          </p:cNvPr>
          <p:cNvSpPr/>
          <p:nvPr/>
        </p:nvSpPr>
        <p:spPr>
          <a:xfrm>
            <a:off x="10077843" y="2414801"/>
            <a:ext cx="1841373" cy="240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r>
              <a:rPr lang="en-US" sz="1200" b="1" i="1">
                <a:solidFill>
                  <a:schemeClr val="tx2"/>
                </a:solidFill>
              </a:rPr>
              <a:t>Detailed on next slid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10DBCEF-D1F7-34C2-054A-75076318B224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Concept Components</a:t>
            </a:r>
          </a:p>
        </p:txBody>
      </p:sp>
    </p:spTree>
    <p:extLst>
      <p:ext uri="{BB962C8B-B14F-4D97-AF65-F5344CB8AC3E}">
        <p14:creationId xmlns:p14="http://schemas.microsoft.com/office/powerpoint/2010/main" val="3337780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5FD565-3396-7F48-AF50-C55D01C41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044F8D-3D9D-ACC5-45DE-076D60C0EA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908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044F8D-3D9D-ACC5-45DE-076D60C0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>
            <a:extLst>
              <a:ext uri="{FF2B5EF4-FFF2-40B4-BE49-F238E27FC236}">
                <a16:creationId xmlns:a16="http://schemas.microsoft.com/office/drawing/2014/main" id="{64A98E51-F156-1808-9490-252714E8A0CB}"/>
              </a:ext>
            </a:extLst>
          </p:cNvPr>
          <p:cNvSpPr/>
          <p:nvPr/>
        </p:nvSpPr>
        <p:spPr>
          <a:xfrm>
            <a:off x="389709" y="1584826"/>
            <a:ext cx="11475187" cy="26121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marL="152400" indent="-152400">
              <a:lnSpc>
                <a:spcPct val="90000"/>
              </a:lnSpc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68BDEE2-AF57-FACD-6350-622FD23BA534}"/>
              </a:ext>
            </a:extLst>
          </p:cNvPr>
          <p:cNvSpPr/>
          <p:nvPr/>
        </p:nvSpPr>
        <p:spPr>
          <a:xfrm>
            <a:off x="3349438" y="1625729"/>
            <a:ext cx="5266768" cy="813378"/>
          </a:xfrm>
          <a:prstGeom prst="rect">
            <a:avLst/>
          </a:prstGeom>
          <a:solidFill>
            <a:srgbClr val="ECFF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spcAft>
                <a:spcPts val="400"/>
              </a:spcAft>
              <a:buClr>
                <a:srgbClr val="000000"/>
              </a:buClr>
              <a:buSzPct val="100000"/>
            </a:pPr>
            <a:r>
              <a:rPr lang="en-US" sz="1100">
                <a:solidFill>
                  <a:schemeClr val="tx1"/>
                </a:solidFill>
              </a:rPr>
              <a:t>Course will be rolled-out across all three APs in 2026, incorporating feedback from 2025 pilot. </a:t>
            </a:r>
            <a:r>
              <a:rPr lang="en-US" sz="1100" b="1">
                <a:solidFill>
                  <a:schemeClr val="tx1"/>
                </a:solidFill>
              </a:rPr>
              <a:t>Cadet and faculty review </a:t>
            </a:r>
            <a:r>
              <a:rPr lang="en-US" sz="1100">
                <a:solidFill>
                  <a:schemeClr val="tx1"/>
                </a:solidFill>
              </a:rPr>
              <a:t>in Fall 2025</a:t>
            </a:r>
          </a:p>
        </p:txBody>
      </p:sp>
      <p:graphicFrame>
        <p:nvGraphicFramePr>
          <p:cNvPr id="50" name="Table 5">
            <a:extLst>
              <a:ext uri="{FF2B5EF4-FFF2-40B4-BE49-F238E27FC236}">
                <a16:creationId xmlns:a16="http://schemas.microsoft.com/office/drawing/2014/main" id="{3196BC75-1FF4-DF87-6E00-9E457C077A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722486"/>
              </p:ext>
            </p:extLst>
          </p:nvPr>
        </p:nvGraphicFramePr>
        <p:xfrm>
          <a:off x="6293986" y="4689109"/>
          <a:ext cx="2652087" cy="166235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84029">
                  <a:extLst>
                    <a:ext uri="{9D8B030D-6E8A-4147-A177-3AD203B41FA5}">
                      <a16:colId xmlns:a16="http://schemas.microsoft.com/office/drawing/2014/main" val="2210222615"/>
                    </a:ext>
                  </a:extLst>
                </a:gridCol>
                <a:gridCol w="884029">
                  <a:extLst>
                    <a:ext uri="{9D8B030D-6E8A-4147-A177-3AD203B41FA5}">
                      <a16:colId xmlns:a16="http://schemas.microsoft.com/office/drawing/2014/main" val="4219617975"/>
                    </a:ext>
                  </a:extLst>
                </a:gridCol>
                <a:gridCol w="884029">
                  <a:extLst>
                    <a:ext uri="{9D8B030D-6E8A-4147-A177-3AD203B41FA5}">
                      <a16:colId xmlns:a16="http://schemas.microsoft.com/office/drawing/2014/main" val="92206699"/>
                    </a:ext>
                  </a:extLst>
                </a:gridCol>
              </a:tblGrid>
              <a:tr h="209987"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Y1</a:t>
                      </a: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Y2</a:t>
                      </a: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Y3</a:t>
                      </a: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844671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998229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121869"/>
                  </a:ext>
                </a:extLst>
              </a:tr>
              <a:tr h="217820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985234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705336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268473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0655341"/>
                  </a:ext>
                </a:extLst>
              </a:tr>
            </a:tbl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id="{97F78C4F-8354-45BA-3F21-7086921D81BD}"/>
              </a:ext>
            </a:extLst>
          </p:cNvPr>
          <p:cNvSpPr/>
          <p:nvPr/>
        </p:nvSpPr>
        <p:spPr>
          <a:xfrm rot="16200000">
            <a:off x="-541369" y="5367256"/>
            <a:ext cx="1682790" cy="366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200" b="1">
                <a:solidFill>
                  <a:schemeClr val="bg1"/>
                </a:solidFill>
              </a:rPr>
              <a:t>Activation Plan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F8466FA-009E-1FC9-DCF6-5A125B1E26D5}"/>
              </a:ext>
            </a:extLst>
          </p:cNvPr>
          <p:cNvSpPr/>
          <p:nvPr/>
        </p:nvSpPr>
        <p:spPr>
          <a:xfrm>
            <a:off x="483094" y="4270730"/>
            <a:ext cx="2562164" cy="228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200" b="1" u="sng">
                <a:solidFill>
                  <a:schemeClr val="tx1"/>
                </a:solidFill>
              </a:rPr>
              <a:t>ZMU IOC </a:t>
            </a:r>
            <a:r>
              <a:rPr lang="en-US" sz="1200" b="1" u="sng" err="1">
                <a:solidFill>
                  <a:schemeClr val="tx1"/>
                </a:solidFill>
              </a:rPr>
              <a:t>GenEd</a:t>
            </a:r>
            <a:r>
              <a:rPr lang="en-US" sz="1200" b="1" u="sng">
                <a:solidFill>
                  <a:schemeClr val="tx1"/>
                </a:solidFill>
              </a:rPr>
              <a:t> Courses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24769FC4-67C5-C8AB-2FA0-1C4BCE5BCB53}"/>
              </a:ext>
            </a:extLst>
          </p:cNvPr>
          <p:cNvSpPr txBox="1">
            <a:spLocks/>
          </p:cNvSpPr>
          <p:nvPr/>
        </p:nvSpPr>
        <p:spPr>
          <a:xfrm>
            <a:off x="389709" y="389713"/>
            <a:ext cx="8988643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algn="l" defTabSz="68581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At IOC, two ZMU GenEd courses have been successfully implemented, and additional courses are being prepared for rollou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D193F7C-7413-EDED-189E-EE0C75CAE450}"/>
              </a:ext>
            </a:extLst>
          </p:cNvPr>
          <p:cNvSpPr/>
          <p:nvPr/>
        </p:nvSpPr>
        <p:spPr>
          <a:xfrm>
            <a:off x="9525614" y="995462"/>
            <a:ext cx="2286000" cy="152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liminary, </a:t>
            </a:r>
            <a:r>
              <a:rPr lang="en-US" sz="1100" b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</a:rPr>
              <a:t>Non-Exhaustive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41" name="Table 5">
            <a:extLst>
              <a:ext uri="{FF2B5EF4-FFF2-40B4-BE49-F238E27FC236}">
                <a16:creationId xmlns:a16="http://schemas.microsoft.com/office/drawing/2014/main" id="{79738EDC-2D6F-EC29-1A58-4E0A9EF998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539889"/>
              </p:ext>
            </p:extLst>
          </p:nvPr>
        </p:nvGraphicFramePr>
        <p:xfrm>
          <a:off x="3375163" y="4689109"/>
          <a:ext cx="2652087" cy="168521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84029">
                  <a:extLst>
                    <a:ext uri="{9D8B030D-6E8A-4147-A177-3AD203B41FA5}">
                      <a16:colId xmlns:a16="http://schemas.microsoft.com/office/drawing/2014/main" val="2210222615"/>
                    </a:ext>
                  </a:extLst>
                </a:gridCol>
                <a:gridCol w="884029">
                  <a:extLst>
                    <a:ext uri="{9D8B030D-6E8A-4147-A177-3AD203B41FA5}">
                      <a16:colId xmlns:a16="http://schemas.microsoft.com/office/drawing/2014/main" val="4219617975"/>
                    </a:ext>
                  </a:extLst>
                </a:gridCol>
                <a:gridCol w="884029">
                  <a:extLst>
                    <a:ext uri="{9D8B030D-6E8A-4147-A177-3AD203B41FA5}">
                      <a16:colId xmlns:a16="http://schemas.microsoft.com/office/drawing/2014/main" val="92206699"/>
                    </a:ext>
                  </a:extLst>
                </a:gridCol>
              </a:tblGrid>
              <a:tr h="209987"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Y1</a:t>
                      </a: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Y2</a:t>
                      </a: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Y3</a:t>
                      </a: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844671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998229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121869"/>
                  </a:ext>
                </a:extLst>
              </a:tr>
              <a:tr h="217820">
                <a:tc>
                  <a:txBody>
                    <a:bodyPr/>
                    <a:lstStyle/>
                    <a:p>
                      <a:pPr marL="0" marR="0" lvl="0" indent="0" algn="ctr" defTabSz="68581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US"/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985234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705336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29600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575103"/>
                  </a:ext>
                </a:extLst>
              </a:tr>
            </a:tbl>
          </a:graphicData>
        </a:graphic>
      </p:graphicFrame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BE03884E-20FE-FA67-AB6B-09E8AE9CC8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7786888"/>
              </p:ext>
            </p:extLst>
          </p:nvPr>
        </p:nvGraphicFramePr>
        <p:xfrm>
          <a:off x="534361" y="4837241"/>
          <a:ext cx="2562164" cy="15379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562164">
                  <a:extLst>
                    <a:ext uri="{9D8B030D-6E8A-4147-A177-3AD203B41FA5}">
                      <a16:colId xmlns:a16="http://schemas.microsoft.com/office/drawing/2014/main" val="2073525523"/>
                    </a:ext>
                  </a:extLst>
                </a:gridCol>
              </a:tblGrid>
              <a:tr h="242574">
                <a:tc>
                  <a:txBody>
                    <a:bodyPr/>
                    <a:lstStyle/>
                    <a:p>
                      <a:pPr algn="l"/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English 1 – Writing</a:t>
                      </a:r>
                    </a:p>
                  </a:txBody>
                  <a:tcPr marL="36576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5578427"/>
                  </a:ext>
                </a:extLst>
              </a:tr>
              <a:tr h="242574">
                <a:tc>
                  <a:txBody>
                    <a:bodyPr/>
                    <a:lstStyle/>
                    <a:p>
                      <a:pPr algn="l"/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English 2 – Writing </a:t>
                      </a:r>
                    </a:p>
                  </a:txBody>
                  <a:tcPr marL="36576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820447"/>
                  </a:ext>
                </a:extLst>
              </a:tr>
              <a:tr h="242574">
                <a:tc>
                  <a:txBody>
                    <a:bodyPr/>
                    <a:lstStyle/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Emirati studies</a:t>
                      </a:r>
                    </a:p>
                  </a:txBody>
                  <a:tcPr marL="36576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120042"/>
                  </a:ext>
                </a:extLst>
              </a:tr>
              <a:tr h="24257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buClr>
                          <a:srgbClr val="000000"/>
                        </a:buClr>
                        <a:buSzPct val="100000"/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Innovation and Entrepreneurship</a:t>
                      </a:r>
                    </a:p>
                  </a:txBody>
                  <a:tcPr marL="36576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311705"/>
                  </a:ext>
                </a:extLst>
              </a:tr>
              <a:tr h="242574">
                <a:tc>
                  <a:txBody>
                    <a:bodyPr/>
                    <a:lstStyle/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Psychology</a:t>
                      </a:r>
                    </a:p>
                  </a:txBody>
                  <a:tcPr marL="36576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466061"/>
                  </a:ext>
                </a:extLst>
              </a:tr>
              <a:tr h="242574">
                <a:tc>
                  <a:txBody>
                    <a:bodyPr/>
                    <a:lstStyle/>
                    <a:p>
                      <a:pPr marL="0" marR="0" lvl="0" indent="0" algn="l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Philosophy</a:t>
                      </a:r>
                    </a:p>
                  </a:txBody>
                  <a:tcPr marL="36576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85513"/>
                  </a:ext>
                </a:extLst>
              </a:tr>
            </a:tbl>
          </a:graphicData>
        </a:graphic>
      </p:graphicFrame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0CAE6ED-3952-9C0E-A922-253FFD66028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Source: ZMU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EBA6D49-A121-B255-382C-7A297717613F}"/>
              </a:ext>
            </a:extLst>
          </p:cNvPr>
          <p:cNvSpPr/>
          <p:nvPr/>
        </p:nvSpPr>
        <p:spPr>
          <a:xfrm>
            <a:off x="8717819" y="2491733"/>
            <a:ext cx="3045463" cy="3856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100" b="1">
                <a:solidFill>
                  <a:schemeClr val="tx1"/>
                </a:solidFill>
              </a:rPr>
              <a:t>Focus on Regional Awareness and National Understand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0F785F-3352-37E3-BE7E-9AC9D5CFCCAA}"/>
              </a:ext>
            </a:extLst>
          </p:cNvPr>
          <p:cNvSpPr/>
          <p:nvPr/>
        </p:nvSpPr>
        <p:spPr>
          <a:xfrm>
            <a:off x="459569" y="2053451"/>
            <a:ext cx="2775969" cy="385656"/>
          </a:xfrm>
          <a:prstGeom prst="rect">
            <a:avLst/>
          </a:prstGeom>
          <a:solidFill>
            <a:srgbClr val="ECFF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English 2 – Writing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6AD0DE-4C16-7442-B069-FE987D9186D4}"/>
              </a:ext>
            </a:extLst>
          </p:cNvPr>
          <p:cNvSpPr/>
          <p:nvPr/>
        </p:nvSpPr>
        <p:spPr>
          <a:xfrm>
            <a:off x="8717819" y="2058730"/>
            <a:ext cx="3045463" cy="3856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100" b="1">
                <a:solidFill>
                  <a:schemeClr val="tx1"/>
                </a:solidFill>
              </a:rPr>
              <a:t>Focus on Leadership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A8F908-A6D4-0E60-D327-CBEFB7C36BF9}"/>
              </a:ext>
            </a:extLst>
          </p:cNvPr>
          <p:cNvSpPr/>
          <p:nvPr/>
        </p:nvSpPr>
        <p:spPr>
          <a:xfrm>
            <a:off x="459569" y="1625729"/>
            <a:ext cx="2775969" cy="385656"/>
          </a:xfrm>
          <a:prstGeom prst="rect">
            <a:avLst/>
          </a:prstGeom>
          <a:solidFill>
            <a:srgbClr val="ECFF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English 1 – Writing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E6E42AD-E128-622D-B883-2410349ABF40}"/>
              </a:ext>
            </a:extLst>
          </p:cNvPr>
          <p:cNvSpPr/>
          <p:nvPr/>
        </p:nvSpPr>
        <p:spPr>
          <a:xfrm>
            <a:off x="8717819" y="1625729"/>
            <a:ext cx="3045463" cy="3856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100" b="1">
                <a:solidFill>
                  <a:schemeClr val="tx1"/>
                </a:solidFill>
              </a:rPr>
              <a:t>Focus on Leadership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E84542F-8D45-191A-3501-12906C13A483}"/>
              </a:ext>
            </a:extLst>
          </p:cNvPr>
          <p:cNvSpPr txBox="1"/>
          <p:nvPr/>
        </p:nvSpPr>
        <p:spPr>
          <a:xfrm>
            <a:off x="2028383" y="1835560"/>
            <a:ext cx="1162824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050" b="1" i="1">
                <a:solidFill>
                  <a:srgbClr val="00B050"/>
                </a:solidFill>
              </a:rPr>
              <a:t>Implement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19325DA-84A1-5F41-39B9-7998CED36E7A}"/>
              </a:ext>
            </a:extLst>
          </p:cNvPr>
          <p:cNvSpPr txBox="1"/>
          <p:nvPr/>
        </p:nvSpPr>
        <p:spPr>
          <a:xfrm>
            <a:off x="389709" y="1310509"/>
            <a:ext cx="2535647" cy="2743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/>
              <a:t>ZMU IOC GenEd Cours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0160289-8AC7-3882-62BC-C7611D379ACF}"/>
              </a:ext>
            </a:extLst>
          </p:cNvPr>
          <p:cNvSpPr txBox="1"/>
          <p:nvPr/>
        </p:nvSpPr>
        <p:spPr>
          <a:xfrm>
            <a:off x="3349438" y="1310509"/>
            <a:ext cx="2243966" cy="2743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/>
              <a:t>Progress Upd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132A1F-7486-DEB8-C8D9-8BB9455690F1}"/>
              </a:ext>
            </a:extLst>
          </p:cNvPr>
          <p:cNvSpPr/>
          <p:nvPr/>
        </p:nvSpPr>
        <p:spPr>
          <a:xfrm>
            <a:off x="463251" y="2908895"/>
            <a:ext cx="2775969" cy="38565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Innovation and Entrepreneurshi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C2C180-D03F-EB57-080A-8AC6D7183423}"/>
              </a:ext>
            </a:extLst>
          </p:cNvPr>
          <p:cNvSpPr txBox="1"/>
          <p:nvPr/>
        </p:nvSpPr>
        <p:spPr>
          <a:xfrm>
            <a:off x="8717819" y="1310509"/>
            <a:ext cx="2243966" cy="2743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400" b="1"/>
              <a:t>Military Contex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7F27D9F-57DE-CE95-2008-2D24540C4B21}"/>
              </a:ext>
            </a:extLst>
          </p:cNvPr>
          <p:cNvSpPr/>
          <p:nvPr/>
        </p:nvSpPr>
        <p:spPr>
          <a:xfrm>
            <a:off x="463251" y="2481173"/>
            <a:ext cx="2775969" cy="38565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Emirati Studi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5E0D1E6-E37E-4D1A-A73A-A2C15DA1D371}"/>
              </a:ext>
            </a:extLst>
          </p:cNvPr>
          <p:cNvSpPr/>
          <p:nvPr/>
        </p:nvSpPr>
        <p:spPr>
          <a:xfrm>
            <a:off x="3353120" y="2481172"/>
            <a:ext cx="5266768" cy="166686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spcAft>
                <a:spcPts val="400"/>
              </a:spcAft>
              <a:buClr>
                <a:srgbClr val="000000"/>
              </a:buClr>
              <a:buSzPct val="100000"/>
            </a:pPr>
            <a:r>
              <a:rPr lang="en-US" sz="1100">
                <a:solidFill>
                  <a:schemeClr val="tx1"/>
                </a:solidFill>
              </a:rPr>
              <a:t>SUAD assigned to </a:t>
            </a:r>
            <a:r>
              <a:rPr lang="en-US" sz="1100" b="1">
                <a:solidFill>
                  <a:schemeClr val="tx1"/>
                </a:solidFill>
              </a:rPr>
              <a:t>design course in 2026, </a:t>
            </a:r>
            <a:r>
              <a:rPr lang="en-US" sz="1100">
                <a:solidFill>
                  <a:schemeClr val="tx1"/>
                </a:solidFill>
              </a:rPr>
              <a:t>to be piloted by </a:t>
            </a:r>
            <a:r>
              <a:rPr lang="en-US" sz="1100" b="1">
                <a:solidFill>
                  <a:schemeClr val="tx1"/>
                </a:solidFill>
              </a:rPr>
              <a:t>all APs in 2027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A7DCE7E-4DFA-5C2F-6874-7412F3D72143}"/>
              </a:ext>
            </a:extLst>
          </p:cNvPr>
          <p:cNvSpPr/>
          <p:nvPr/>
        </p:nvSpPr>
        <p:spPr>
          <a:xfrm>
            <a:off x="8717819" y="2921649"/>
            <a:ext cx="3045463" cy="3856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100" b="1">
                <a:solidFill>
                  <a:schemeClr val="tx1"/>
                </a:solidFill>
              </a:rPr>
              <a:t>Focus on Leadership and innovation in military relevant setting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BF5E13-8EF2-EC4C-A5A4-C2E53D9B8303}"/>
              </a:ext>
            </a:extLst>
          </p:cNvPr>
          <p:cNvSpPr txBox="1"/>
          <p:nvPr/>
        </p:nvSpPr>
        <p:spPr>
          <a:xfrm>
            <a:off x="2028383" y="2267322"/>
            <a:ext cx="1162824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050" b="1" i="1">
                <a:solidFill>
                  <a:srgbClr val="00B050"/>
                </a:solidFill>
              </a:rPr>
              <a:t>Implement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D199BB-1082-B04C-EB9B-7701DA40287B}"/>
              </a:ext>
            </a:extLst>
          </p:cNvPr>
          <p:cNvSpPr/>
          <p:nvPr/>
        </p:nvSpPr>
        <p:spPr>
          <a:xfrm>
            <a:off x="463251" y="3764339"/>
            <a:ext cx="2775969" cy="38565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Philosoph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DA36D19-49DC-5F52-0644-5B37AEF8D01C}"/>
              </a:ext>
            </a:extLst>
          </p:cNvPr>
          <p:cNvSpPr/>
          <p:nvPr/>
        </p:nvSpPr>
        <p:spPr>
          <a:xfrm>
            <a:off x="463251" y="3336617"/>
            <a:ext cx="2775969" cy="38565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200" b="1">
                <a:solidFill>
                  <a:schemeClr val="tx1"/>
                </a:solidFill>
              </a:rPr>
              <a:t>Psycholog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4EFB5A-1FA0-2E6C-AC24-EF8D3E05662F}"/>
              </a:ext>
            </a:extLst>
          </p:cNvPr>
          <p:cNvSpPr/>
          <p:nvPr/>
        </p:nvSpPr>
        <p:spPr>
          <a:xfrm>
            <a:off x="8717819" y="3764339"/>
            <a:ext cx="3045463" cy="3856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100" b="1">
                <a:solidFill>
                  <a:schemeClr val="tx1"/>
                </a:solidFill>
              </a:rPr>
              <a:t>Focus on situational ethics with military relevanc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1AA924B-75AB-7DBA-C6A0-42758D5AC90B}"/>
              </a:ext>
            </a:extLst>
          </p:cNvPr>
          <p:cNvSpPr/>
          <p:nvPr/>
        </p:nvSpPr>
        <p:spPr>
          <a:xfrm>
            <a:off x="8717819" y="3342994"/>
            <a:ext cx="3045463" cy="38565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en-US" sz="1100" b="1">
                <a:solidFill>
                  <a:schemeClr val="tx1"/>
                </a:solidFill>
              </a:rPr>
              <a:t>Focus on critical thinking in </a:t>
            </a:r>
            <a:r>
              <a:rPr lang="en-US" sz="1100" b="1" err="1">
                <a:solidFill>
                  <a:schemeClr val="tx1"/>
                </a:solidFill>
              </a:rPr>
              <a:t>defence</a:t>
            </a:r>
            <a:r>
              <a:rPr lang="en-US" sz="1100" b="1">
                <a:solidFill>
                  <a:schemeClr val="tx1"/>
                </a:solidFill>
              </a:rPr>
              <a:t>-adjacent environments</a:t>
            </a:r>
          </a:p>
        </p:txBody>
      </p:sp>
      <p:graphicFrame>
        <p:nvGraphicFramePr>
          <p:cNvPr id="27" name="Table 5">
            <a:extLst>
              <a:ext uri="{FF2B5EF4-FFF2-40B4-BE49-F238E27FC236}">
                <a16:creationId xmlns:a16="http://schemas.microsoft.com/office/drawing/2014/main" id="{4186949D-BB67-8B40-F355-ADB8665509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123001"/>
              </p:ext>
            </p:extLst>
          </p:nvPr>
        </p:nvGraphicFramePr>
        <p:xfrm>
          <a:off x="9212809" y="4702528"/>
          <a:ext cx="2652087" cy="166235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84029">
                  <a:extLst>
                    <a:ext uri="{9D8B030D-6E8A-4147-A177-3AD203B41FA5}">
                      <a16:colId xmlns:a16="http://schemas.microsoft.com/office/drawing/2014/main" val="2210222615"/>
                    </a:ext>
                  </a:extLst>
                </a:gridCol>
                <a:gridCol w="884029">
                  <a:extLst>
                    <a:ext uri="{9D8B030D-6E8A-4147-A177-3AD203B41FA5}">
                      <a16:colId xmlns:a16="http://schemas.microsoft.com/office/drawing/2014/main" val="4219617975"/>
                    </a:ext>
                  </a:extLst>
                </a:gridCol>
                <a:gridCol w="884029">
                  <a:extLst>
                    <a:ext uri="{9D8B030D-6E8A-4147-A177-3AD203B41FA5}">
                      <a16:colId xmlns:a16="http://schemas.microsoft.com/office/drawing/2014/main" val="92206699"/>
                    </a:ext>
                  </a:extLst>
                </a:gridCol>
              </a:tblGrid>
              <a:tr h="209987"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Y1</a:t>
                      </a: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Y2</a:t>
                      </a: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Y3</a:t>
                      </a: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844671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998229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121869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985234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705336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941526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rgbClr val="00B05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en-US" sz="1200" b="1">
                        <a:solidFill>
                          <a:srgbClr val="00B050"/>
                        </a:solidFill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18" rtl="0" eaLnBrk="1" latinLnBrk="0" hangingPunct="1"/>
                      <a:endParaRPr lang="en-US" sz="1200" b="1" kern="120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28388" marB="283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352078"/>
                  </a:ext>
                </a:extLst>
              </a:tr>
            </a:tbl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BC26BC6E-510C-43D9-4464-2F09C1DD7A42}"/>
              </a:ext>
            </a:extLst>
          </p:cNvPr>
          <p:cNvSpPr/>
          <p:nvPr/>
        </p:nvSpPr>
        <p:spPr>
          <a:xfrm>
            <a:off x="5968112" y="4206932"/>
            <a:ext cx="3410240" cy="228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200" b="1" u="sng">
                <a:solidFill>
                  <a:schemeClr val="tx1"/>
                </a:solidFill>
              </a:rPr>
              <a:t>Cadet Cohort Teaching Year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 b="1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sz="1200" b="1" i="1">
                <a:solidFill>
                  <a:schemeClr val="bg1">
                    <a:lumMod val="75000"/>
                  </a:schemeClr>
                </a:solidFill>
              </a:rPr>
              <a:t>Preliminary)</a:t>
            </a:r>
            <a:endParaRPr lang="en-US" sz="1200" b="1" u="sng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771D36F-15E2-944F-2255-F3223025048D}"/>
              </a:ext>
            </a:extLst>
          </p:cNvPr>
          <p:cNvSpPr/>
          <p:nvPr/>
        </p:nvSpPr>
        <p:spPr>
          <a:xfrm>
            <a:off x="3978069" y="4427457"/>
            <a:ext cx="1446275" cy="228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100" b="1">
                <a:solidFill>
                  <a:schemeClr val="tx1"/>
                </a:solidFill>
              </a:rPr>
              <a:t>2025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7915792-4561-31C5-FF9E-4CF946EBAB39}"/>
              </a:ext>
            </a:extLst>
          </p:cNvPr>
          <p:cNvSpPr/>
          <p:nvPr/>
        </p:nvSpPr>
        <p:spPr>
          <a:xfrm>
            <a:off x="9815715" y="4427457"/>
            <a:ext cx="1446275" cy="228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100" b="1">
                <a:solidFill>
                  <a:schemeClr val="tx1"/>
                </a:solidFill>
              </a:rPr>
              <a:t>2027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A9400EB-74ED-C0E2-8F94-45F5054046DE}"/>
              </a:ext>
            </a:extLst>
          </p:cNvPr>
          <p:cNvGrpSpPr/>
          <p:nvPr/>
        </p:nvGrpSpPr>
        <p:grpSpPr>
          <a:xfrm>
            <a:off x="4172651" y="6407787"/>
            <a:ext cx="2652088" cy="369332"/>
            <a:chOff x="-182942" y="6146159"/>
            <a:chExt cx="2671800" cy="35142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E8F312F-1A52-144B-B68A-09F18D23FA32}"/>
                </a:ext>
              </a:extLst>
            </p:cNvPr>
            <p:cNvSpPr/>
            <p:nvPr/>
          </p:nvSpPr>
          <p:spPr>
            <a:xfrm>
              <a:off x="-182942" y="6146159"/>
              <a:ext cx="2671800" cy="35142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13100D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1E1E1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ZMU IOC GenEd Concept and Courses agreed to by RA, KU, and SUAD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95AB940-55A8-85BA-9083-444456316EC2}"/>
                </a:ext>
              </a:extLst>
            </p:cNvPr>
            <p:cNvSpPr/>
            <p:nvPr/>
          </p:nvSpPr>
          <p:spPr>
            <a:xfrm>
              <a:off x="-62276" y="6240854"/>
              <a:ext cx="216325" cy="16203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C3440F76-BBEE-DAB4-04EF-B54004A2D0D1}"/>
              </a:ext>
            </a:extLst>
          </p:cNvPr>
          <p:cNvSpPr/>
          <p:nvPr/>
        </p:nvSpPr>
        <p:spPr>
          <a:xfrm>
            <a:off x="6896892" y="4427457"/>
            <a:ext cx="1446275" cy="228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algn="ctr">
              <a:lnSpc>
                <a:spcPct val="90000"/>
              </a:lnSpc>
            </a:pPr>
            <a:r>
              <a:rPr lang="en-US" sz="1100" b="1">
                <a:solidFill>
                  <a:schemeClr val="tx1"/>
                </a:solidFill>
              </a:rPr>
              <a:t>2026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E8EBA6F-7FA5-294B-D996-8FC9FB856E0A}"/>
              </a:ext>
            </a:extLst>
          </p:cNvPr>
          <p:cNvSpPr/>
          <p:nvPr/>
        </p:nvSpPr>
        <p:spPr>
          <a:xfrm>
            <a:off x="397439" y="1002037"/>
            <a:ext cx="9529762" cy="1938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400" b="1">
                <a:solidFill>
                  <a:srgbClr val="1E1E1E"/>
                </a:solidFill>
                <a:latin typeface="Arial" panose="020B0604020202020204" pitchFamily="34" charset="0"/>
              </a:rPr>
              <a:t>ZMU IOC General Education Development Strategy 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920E097-42FB-50ED-4D6A-5B0B74FAA5F4}"/>
              </a:ext>
            </a:extLst>
          </p:cNvPr>
          <p:cNvGrpSpPr/>
          <p:nvPr/>
        </p:nvGrpSpPr>
        <p:grpSpPr>
          <a:xfrm>
            <a:off x="7023608" y="6553200"/>
            <a:ext cx="1792128" cy="369332"/>
            <a:chOff x="8492492" y="6374829"/>
            <a:chExt cx="1792128" cy="369332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4A7B95F-4905-32BB-9BCE-1B4D3AF0A23D}"/>
                </a:ext>
              </a:extLst>
            </p:cNvPr>
            <p:cNvSpPr txBox="1"/>
            <p:nvPr/>
          </p:nvSpPr>
          <p:spPr>
            <a:xfrm>
              <a:off x="8492492" y="6374829"/>
              <a:ext cx="471132" cy="36933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6858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7701CA3-7596-3FB0-B54B-5B3CD4DF47CF}"/>
                </a:ext>
              </a:extLst>
            </p:cNvPr>
            <p:cNvSpPr txBox="1"/>
            <p:nvPr/>
          </p:nvSpPr>
          <p:spPr>
            <a:xfrm>
              <a:off x="8871168" y="6483321"/>
              <a:ext cx="141345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</a:pPr>
              <a:r>
                <a:rPr lang="en-US" sz="1000" b="1" i="1"/>
                <a:t>Piloted by SUAD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5458D9D-D5AF-C25F-99B6-4E592E399338}"/>
              </a:ext>
            </a:extLst>
          </p:cNvPr>
          <p:cNvGrpSpPr/>
          <p:nvPr/>
        </p:nvGrpSpPr>
        <p:grpSpPr>
          <a:xfrm>
            <a:off x="7023608" y="6375400"/>
            <a:ext cx="1911743" cy="369332"/>
            <a:chOff x="8492492" y="6553423"/>
            <a:chExt cx="1911743" cy="369332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48E0E9D-1640-7D48-21F2-0CF47652DF73}"/>
                </a:ext>
              </a:extLst>
            </p:cNvPr>
            <p:cNvSpPr txBox="1"/>
            <p:nvPr/>
          </p:nvSpPr>
          <p:spPr>
            <a:xfrm>
              <a:off x="8492492" y="6553423"/>
              <a:ext cx="471132" cy="36933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6858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AC84861-56F0-37DC-18A0-D38BBE8EE8F7}"/>
                </a:ext>
              </a:extLst>
            </p:cNvPr>
            <p:cNvSpPr txBox="1"/>
            <p:nvPr/>
          </p:nvSpPr>
          <p:spPr>
            <a:xfrm>
              <a:off x="8849438" y="6661915"/>
              <a:ext cx="155479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</a:pPr>
              <a:r>
                <a:rPr lang="en-US" sz="1000" b="1" i="1"/>
                <a:t>Offered across all AP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793170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52CF3C-FCD3-2DC9-BFE2-478F087192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Agenda</a:t>
            </a:r>
          </a:p>
          <a:p>
            <a:r>
              <a:rPr lang="en-US">
                <a:solidFill>
                  <a:schemeClr val="tx1">
                    <a:lumMod val="10000"/>
                    <a:lumOff val="90000"/>
                  </a:schemeClr>
                </a:solidFill>
              </a:rPr>
              <a:t>GenEd Overview</a:t>
            </a:r>
          </a:p>
          <a:p>
            <a:r>
              <a:rPr lang="en-US">
                <a:solidFill>
                  <a:srgbClr val="E8E8E8"/>
                </a:solidFill>
              </a:rPr>
              <a:t>IOC GenEd Concept</a:t>
            </a:r>
          </a:p>
          <a:p>
            <a:r>
              <a:rPr lang="en-US"/>
              <a:t>IOC GenEd Curriculum</a:t>
            </a:r>
          </a:p>
          <a:p>
            <a:r>
              <a:rPr lang="en-US">
                <a:solidFill>
                  <a:srgbClr val="E8E8E8"/>
                </a:solidFill>
              </a:rPr>
              <a:t>IOC GenEd Refinements</a:t>
            </a:r>
          </a:p>
        </p:txBody>
      </p:sp>
    </p:spTree>
    <p:extLst>
      <p:ext uri="{BB962C8B-B14F-4D97-AF65-F5344CB8AC3E}">
        <p14:creationId xmlns:p14="http://schemas.microsoft.com/office/powerpoint/2010/main" val="1753595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lpDFq58Hw1sX0_9FGT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VKo0jxhIxpbgJBKTRX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lpDFq58Hw1sX0_9FGT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VKo0jxhIxpbgJBKTRXe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lpDFq58Hw1sX0_9FGTS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VKo0jxhIxpbgJBKTRXeQ"/>
</p:tagLst>
</file>

<file path=ppt/theme/theme1.xml><?xml version="1.0" encoding="utf-8"?>
<a:theme xmlns:a="http://schemas.openxmlformats.org/drawingml/2006/main" name="EN Takamul Template">
  <a:themeElements>
    <a:clrScheme name="Custom 10">
      <a:dk1>
        <a:srgbClr val="1E1E1E"/>
      </a:dk1>
      <a:lt1>
        <a:srgbClr val="FFFFFF"/>
      </a:lt1>
      <a:dk2>
        <a:srgbClr val="3A3B68"/>
      </a:dk2>
      <a:lt2>
        <a:srgbClr val="C4996C"/>
      </a:lt2>
      <a:accent1>
        <a:srgbClr val="D2D2D2"/>
      </a:accent1>
      <a:accent2>
        <a:srgbClr val="C5A783"/>
      </a:accent2>
      <a:accent3>
        <a:srgbClr val="B6AFB0"/>
      </a:accent3>
      <a:accent4>
        <a:srgbClr val="66689B"/>
      </a:accent4>
      <a:accent5>
        <a:srgbClr val="505282"/>
      </a:accent5>
      <a:accent6>
        <a:srgbClr val="C5A078"/>
      </a:accent6>
      <a:hlink>
        <a:srgbClr val="D2D2D2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_New Kearney format_Takamul Program Template_v6.potx" id="{4487D430-26F2-4E4A-A375-CD21FB350298}" vid="{061A7A4F-F7F5-43D5-AA9B-ABBD2C0DEDEA}"/>
    </a:ext>
  </a:extLst>
</a:theme>
</file>

<file path=ppt/theme/theme2.xml><?xml version="1.0" encoding="utf-8"?>
<a:theme xmlns:a="http://schemas.openxmlformats.org/drawingml/2006/main" name="EN Takamul 2 Template Black">
  <a:themeElements>
    <a:clrScheme name="Takamul-Color">
      <a:dk1>
        <a:srgbClr val="1E1E1E"/>
      </a:dk1>
      <a:lt1>
        <a:srgbClr val="FFFFFF"/>
      </a:lt1>
      <a:dk2>
        <a:srgbClr val="F6A23E"/>
      </a:dk2>
      <a:lt2>
        <a:srgbClr val="D2D2D2"/>
      </a:lt2>
      <a:accent1>
        <a:srgbClr val="F5F5F5"/>
      </a:accent1>
      <a:accent2>
        <a:srgbClr val="5B4A42"/>
      </a:accent2>
      <a:accent3>
        <a:srgbClr val="3E4CA0"/>
      </a:accent3>
      <a:accent4>
        <a:srgbClr val="E1E7AB"/>
      </a:accent4>
      <a:accent5>
        <a:srgbClr val="666699"/>
      </a:accent5>
      <a:accent6>
        <a:srgbClr val="E6AD46"/>
      </a:accent6>
      <a:hlink>
        <a:srgbClr val="0070C0"/>
      </a:hlink>
      <a:folHlink>
        <a:srgbClr val="0066C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AR_Takamul 2 Program Template Black_vF (004).pptx  -  Read-Only" id="{BB3829D8-5381-41CA-B3BD-1FD26D55D775}" vid="{6BA8F00D-2958-4C93-BB48-907BC5947A19}"/>
    </a:ext>
  </a:extLst>
</a:theme>
</file>

<file path=ppt/theme/theme3.xml><?xml version="1.0" encoding="utf-8"?>
<a:theme xmlns:a="http://schemas.openxmlformats.org/drawingml/2006/main" name="1_EN Takamul Template">
  <a:themeElements>
    <a:clrScheme name="Custom 10">
      <a:dk1>
        <a:srgbClr val="1E1E1E"/>
      </a:dk1>
      <a:lt1>
        <a:srgbClr val="FFFFFF"/>
      </a:lt1>
      <a:dk2>
        <a:srgbClr val="3A3B68"/>
      </a:dk2>
      <a:lt2>
        <a:srgbClr val="C4996C"/>
      </a:lt2>
      <a:accent1>
        <a:srgbClr val="D2D2D2"/>
      </a:accent1>
      <a:accent2>
        <a:srgbClr val="C5A783"/>
      </a:accent2>
      <a:accent3>
        <a:srgbClr val="B6AFB0"/>
      </a:accent3>
      <a:accent4>
        <a:srgbClr val="66689B"/>
      </a:accent4>
      <a:accent5>
        <a:srgbClr val="505282"/>
      </a:accent5>
      <a:accent6>
        <a:srgbClr val="C5A078"/>
      </a:accent6>
      <a:hlink>
        <a:srgbClr val="D2D2D2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_New Kearney format_Takamul Program Template_v6.potx" id="{4487D430-26F2-4E4A-A375-CD21FB350298}" vid="{061A7A4F-F7F5-43D5-AA9B-ABBD2C0DEDE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8027B10B-FCD3-4878-9741-A9A4C043792A}">
  <we:reference id="ea4a38c2-de38-11e9-a1c6-00155de8db01" version="1.2.4.0" store="EXCatalog" storeType="EXCatalog"/>
  <we:alternateReferences/>
  <we:properties>
    <we:property name="CantoAssets" value="&quot;[{\&quot;scheme\&quot;:\&quot;image\&quot;,\&quot;id\&quot;:\&quot;eupf55bklh2a30aod6k7roik7d\&quot;,\&quot;tenant\&quot;:\&quot;kearney.canto.com\&quot;,\&quot;time\&quot;:\&quot;20200409105857000\&quot;,\&quot;name\&quot;:\&quot;zalbek01-iOS-IMG_4853_1584369482353.111084-APP.jpg\&quot;,\&quot;addedby\&quot;:\&quot;test\&quot;}]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aff63e7-cacb-4018-a608-78387baa96b5">
      <Terms xmlns="http://schemas.microsoft.com/office/infopath/2007/PartnerControls"/>
    </lcf76f155ced4ddcb4097134ff3c332f>
    <TaxCatchAll xmlns="1514ec48-0aa0-4705-9359-358c4d669e25" xsi:nil="true"/>
    <ArchiverLinkFileType xmlns="4aff63e7-cacb-4018-a608-78387baa96b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B4BE4E11C9E54AA44F6A7A992C434D" ma:contentTypeVersion="98" ma:contentTypeDescription="Create a new document." ma:contentTypeScope="" ma:versionID="b2e41ce3977a9142a16df776fbeec08e">
  <xsd:schema xmlns:xsd="http://www.w3.org/2001/XMLSchema" xmlns:xs="http://www.w3.org/2001/XMLSchema" xmlns:p="http://schemas.microsoft.com/office/2006/metadata/properties" xmlns:ns2="4aff63e7-cacb-4018-a608-78387baa96b5" xmlns:ns3="1514ec48-0aa0-4705-9359-358c4d669e25" targetNamespace="http://schemas.microsoft.com/office/2006/metadata/properties" ma:root="true" ma:fieldsID="0e45bfaba5ddb227dd882b523c5e93fe" ns2:_="" ns3:_="">
    <xsd:import namespace="4aff63e7-cacb-4018-a608-78387baa96b5"/>
    <xsd:import namespace="1514ec48-0aa0-4705-9359-358c4d669e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ArchiverLinkFileType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ff63e7-cacb-4018-a608-78387baa96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c350327-7f8b-4e4c-9470-6526d29b83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rchiverLinkFileType" ma:index="26" nillable="true" ma:displayName="ArchiverLinkFileType" ma:hidden="true" ma:internalName="ArchiverLinkFileType">
      <xsd:simpleType>
        <xsd:restriction base="dms:Text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14ec48-0aa0-4705-9359-358c4d669e2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b67efb6-c63e-4a78-b500-c623c894679d}" ma:internalName="TaxCatchAll" ma:showField="CatchAllData" ma:web="1514ec48-0aa0-4705-9359-358c4d669e2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4BA8DF-575C-4C8F-BD02-115638683893}">
  <ds:schemaRefs>
    <ds:schemaRef ds:uri="1514ec48-0aa0-4705-9359-358c4d669e25"/>
    <ds:schemaRef ds:uri="4aff63e7-cacb-4018-a608-78387baa96b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7386F22-22C2-4AE1-BBAE-763040FA875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113F344-CCCB-49CC-A656-1906BF30B67B}">
  <ds:schemaRefs>
    <ds:schemaRef ds:uri="1514ec48-0aa0-4705-9359-358c4d669e25"/>
    <ds:schemaRef ds:uri="4aff63e7-cacb-4018-a608-78387baa96b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10</Words>
  <Application>Microsoft Macintosh PowerPoint</Application>
  <PresentationFormat>Widescreen</PresentationFormat>
  <Paragraphs>494</Paragraphs>
  <Slides>28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Arial</vt:lpstr>
      <vt:lpstr>Calibri</vt:lpstr>
      <vt:lpstr>System Font Regular</vt:lpstr>
      <vt:lpstr>Wingdings</vt:lpstr>
      <vt:lpstr>EN Takamul Template</vt:lpstr>
      <vt:lpstr>EN Takamul 2 Template Black</vt:lpstr>
      <vt:lpstr>1_EN Takamul Template</vt:lpstr>
      <vt:lpstr>think-cell Slide</vt:lpstr>
      <vt:lpstr>ZMU Academics - General Education </vt:lpstr>
      <vt:lpstr>This document provides an overview of the ZMU GenEd program in addition to its IOC concept, curriculum and refinements</vt:lpstr>
      <vt:lpstr>PowerPoint Presentation</vt:lpstr>
      <vt:lpstr>PowerPoint Presentation</vt:lpstr>
      <vt:lpstr>GenEd at ZMU has been adapted to ZMU priorities to achieve the ambitions of a bespoke ZMU GenEd program</vt:lpstr>
      <vt:lpstr>PowerPoint Presentation</vt:lpstr>
      <vt:lpstr>Development of ZMU IOC GenEd concept includes the list of courses with contextually relevant curricula and a process to develop cour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ystematic evaluation assesses whether the ZMU IOC GenEd courses deliver on their objectives</vt:lpstr>
      <vt:lpstr>The Q4 2025 survey reflects successful course delivery and cadet learning practices and identifies proposed modifications for 2026</vt:lpstr>
      <vt:lpstr>Next steps include briefing ZMU Leadership on IOC GenEd, updating ENG1 and ENG2 course curriculum and finalizing 2026 piloted courses curricula</vt:lpstr>
      <vt:lpstr>PowerPoint Presentation</vt:lpstr>
      <vt:lpstr>PowerPoint Presentation</vt:lpstr>
      <vt:lpstr>PowerPoint Presentation</vt:lpstr>
      <vt:lpstr>ZMU General Education Curriculum (GenEd) Working Group has defined objectives and membership from all Academic Partn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Ed Report</dc:title>
  <dc:creator>Zuleikha.Adnan@kearney.com</dc:creator>
  <cp:lastModifiedBy>Kyle Farley</cp:lastModifiedBy>
  <cp:revision>3</cp:revision>
  <dcterms:created xsi:type="dcterms:W3CDTF">2024-03-20T09:00:54Z</dcterms:created>
  <dcterms:modified xsi:type="dcterms:W3CDTF">2025-12-10T10:1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e815a84-bb14-486b-9367-c1af54c95fa4_Enabled">
    <vt:lpwstr>true</vt:lpwstr>
  </property>
  <property fmtid="{D5CDD505-2E9C-101B-9397-08002B2CF9AE}" pid="3" name="MSIP_Label_0e815a84-bb14-486b-9367-c1af54c95fa4_SetDate">
    <vt:lpwstr>2024-03-20T10:12:55Z</vt:lpwstr>
  </property>
  <property fmtid="{D5CDD505-2E9C-101B-9397-08002B2CF9AE}" pid="4" name="MSIP_Label_0e815a84-bb14-486b-9367-c1af54c95fa4_Method">
    <vt:lpwstr>Standard</vt:lpwstr>
  </property>
  <property fmtid="{D5CDD505-2E9C-101B-9397-08002B2CF9AE}" pid="5" name="MSIP_Label_0e815a84-bb14-486b-9367-c1af54c95fa4_Name">
    <vt:lpwstr>Standard</vt:lpwstr>
  </property>
  <property fmtid="{D5CDD505-2E9C-101B-9397-08002B2CF9AE}" pid="6" name="MSIP_Label_0e815a84-bb14-486b-9367-c1af54c95fa4_SiteId">
    <vt:lpwstr>5dc645ed-297f-4dca-b0af-2339c71c5388</vt:lpwstr>
  </property>
  <property fmtid="{D5CDD505-2E9C-101B-9397-08002B2CF9AE}" pid="7" name="MSIP_Label_0e815a84-bb14-486b-9367-c1af54c95fa4_ActionId">
    <vt:lpwstr>76fd591c-bdd3-49f8-93f5-8f4570572547</vt:lpwstr>
  </property>
  <property fmtid="{D5CDD505-2E9C-101B-9397-08002B2CF9AE}" pid="8" name="MSIP_Label_0e815a84-bb14-486b-9367-c1af54c95fa4_ContentBits">
    <vt:lpwstr>0</vt:lpwstr>
  </property>
  <property fmtid="{D5CDD505-2E9C-101B-9397-08002B2CF9AE}" pid="9" name="ContentTypeId">
    <vt:lpwstr>0x010100CCB4BE4E11C9E54AA44F6A7A992C434D</vt:lpwstr>
  </property>
  <property fmtid="{D5CDD505-2E9C-101B-9397-08002B2CF9AE}" pid="10" name="MediaServiceImageTags">
    <vt:lpwstr/>
  </property>
</Properties>
</file>